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2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52.xml" ContentType="application/vnd.openxmlformats-officedocument.presentationml.tags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53.xml" ContentType="application/vnd.openxmlformats-officedocument.presentationml.tags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54.xml" ContentType="application/vnd.openxmlformats-officedocument.presentationml.tags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55.xml" ContentType="application/vnd.openxmlformats-officedocument.presentationml.tags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tags/tag56.xml" ContentType="application/vnd.openxmlformats-officedocument.presentationml.tags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5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</p:sldMasterIdLst>
  <p:notesMasterIdLst>
    <p:notesMasterId r:id="rId19"/>
  </p:notesMasterIdLst>
  <p:sldIdLst>
    <p:sldId id="2145706754" r:id="rId6"/>
    <p:sldId id="2145706746" r:id="rId7"/>
    <p:sldId id="2145706760" r:id="rId8"/>
    <p:sldId id="2145706771" r:id="rId9"/>
    <p:sldId id="2145706753" r:id="rId10"/>
    <p:sldId id="2145706752" r:id="rId11"/>
    <p:sldId id="2145706755" r:id="rId12"/>
    <p:sldId id="2145706756" r:id="rId13"/>
    <p:sldId id="2145706758" r:id="rId14"/>
    <p:sldId id="2145706762" r:id="rId15"/>
    <p:sldId id="2145706763" r:id="rId16"/>
    <p:sldId id="2145706764" r:id="rId17"/>
    <p:sldId id="2145706766" r:id="rId18"/>
  </p:sldIdLst>
  <p:sldSz cx="12192000" cy="6858000"/>
  <p:notesSz cx="6858000" cy="9144000"/>
  <p:custDataLst>
    <p:tags r:id="rId2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3840">
          <p15:clr>
            <a:srgbClr val="A4A3A4"/>
          </p15:clr>
        </p15:guide>
        <p15:guide id="4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BFBF"/>
    <a:srgbClr val="FFFFFF"/>
    <a:srgbClr val="FAF8F6"/>
    <a:srgbClr val="F7F7F7"/>
    <a:srgbClr val="F2F1F1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90" autoAdjust="0"/>
    <p:restoredTop sz="96296"/>
  </p:normalViewPr>
  <p:slideViewPr>
    <p:cSldViewPr snapToGrid="0" snapToObjects="1" showGuides="1">
      <p:cViewPr varScale="1">
        <p:scale>
          <a:sx n="115" d="100"/>
          <a:sy n="115" d="100"/>
        </p:scale>
        <p:origin x="438" y="10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282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D3D5295-2D58-4373-9AE5-F937E8B7F001}" type="doc">
      <dgm:prSet loTypeId="urn:microsoft.com/office/officeart/2008/layout/LinedLis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C87C845-12A8-4208-8850-AF47EA55DA40}">
      <dgm:prSet/>
      <dgm:spPr/>
      <dgm:t>
        <a:bodyPr/>
        <a:lstStyle/>
        <a:p>
          <a:pPr algn="ctr"/>
          <a:r>
            <a:rPr lang="ru-RU" dirty="0" smtClean="0"/>
            <a:t>Цели</a:t>
          </a:r>
          <a:endParaRPr lang="ru-RU" dirty="0"/>
        </a:p>
      </dgm:t>
    </dgm:pt>
    <dgm:pt modelId="{8D3E6B5D-08FB-4F4B-9A9A-0AD867586A4C}" type="parTrans" cxnId="{B8A58407-6AE5-4681-8FC9-ABE49D8ECAA8}">
      <dgm:prSet/>
      <dgm:spPr/>
      <dgm:t>
        <a:bodyPr/>
        <a:lstStyle/>
        <a:p>
          <a:endParaRPr lang="ru-RU"/>
        </a:p>
      </dgm:t>
    </dgm:pt>
    <dgm:pt modelId="{1028C7CC-D566-42F1-B627-DAFD59ADB743}" type="sibTrans" cxnId="{B8A58407-6AE5-4681-8FC9-ABE49D8ECAA8}">
      <dgm:prSet/>
      <dgm:spPr/>
      <dgm:t>
        <a:bodyPr/>
        <a:lstStyle/>
        <a:p>
          <a:endParaRPr lang="ru-RU"/>
        </a:p>
      </dgm:t>
    </dgm:pt>
    <dgm:pt modelId="{ABBE66F3-CCE4-4FB0-AC6E-E859A94D6A54}">
      <dgm:prSet/>
      <dgm:spPr/>
      <dgm:t>
        <a:bodyPr/>
        <a:lstStyle/>
        <a:p>
          <a:pPr algn="l"/>
          <a:r>
            <a:rPr lang="ru-RU" dirty="0"/>
            <a:t>Повышение уровня академической подготовки школьников </a:t>
          </a:r>
        </a:p>
        <a:p>
          <a:pPr algn="l"/>
          <a:r>
            <a:rPr lang="ru-RU" dirty="0"/>
            <a:t>в регионах присутствия УГМК</a:t>
          </a:r>
        </a:p>
      </dgm:t>
    </dgm:pt>
    <dgm:pt modelId="{0428B1C7-CA28-422B-AF78-CAD5C7D24E04}" type="parTrans" cxnId="{824034F8-8BB5-41B0-A012-56E36CF53689}">
      <dgm:prSet/>
      <dgm:spPr/>
      <dgm:t>
        <a:bodyPr/>
        <a:lstStyle/>
        <a:p>
          <a:endParaRPr lang="ru-RU"/>
        </a:p>
      </dgm:t>
    </dgm:pt>
    <dgm:pt modelId="{FA52FD61-3176-4AFC-A185-3443C916930F}" type="sibTrans" cxnId="{824034F8-8BB5-41B0-A012-56E36CF53689}">
      <dgm:prSet/>
      <dgm:spPr/>
      <dgm:t>
        <a:bodyPr/>
        <a:lstStyle/>
        <a:p>
          <a:endParaRPr lang="ru-RU"/>
        </a:p>
      </dgm:t>
    </dgm:pt>
    <dgm:pt modelId="{5E094FF2-5EE5-40D1-9D54-4808FBD5A4F9}">
      <dgm:prSet/>
      <dgm:spPr/>
      <dgm:t>
        <a:bodyPr/>
        <a:lstStyle/>
        <a:p>
          <a:pPr algn="l"/>
          <a:r>
            <a:rPr lang="ru-RU" dirty="0"/>
            <a:t>Стимулирование школьников к поступлению в </a:t>
          </a:r>
          <a:r>
            <a:rPr lang="ru-RU" dirty="0" smtClean="0"/>
            <a:t>технические вузы</a:t>
          </a:r>
          <a:endParaRPr lang="ru-RU" dirty="0"/>
        </a:p>
      </dgm:t>
    </dgm:pt>
    <dgm:pt modelId="{019C34F2-25B6-47EE-8EC8-84A3C26209D2}" type="parTrans" cxnId="{A24A34D6-533C-46F1-95D9-3F636F7411B4}">
      <dgm:prSet/>
      <dgm:spPr/>
      <dgm:t>
        <a:bodyPr/>
        <a:lstStyle/>
        <a:p>
          <a:endParaRPr lang="ru-RU"/>
        </a:p>
      </dgm:t>
    </dgm:pt>
    <dgm:pt modelId="{2B6FDE3F-FA0E-485B-9CB4-9A674BBFE56E}" type="sibTrans" cxnId="{A24A34D6-533C-46F1-95D9-3F636F7411B4}">
      <dgm:prSet/>
      <dgm:spPr/>
      <dgm:t>
        <a:bodyPr/>
        <a:lstStyle/>
        <a:p>
          <a:endParaRPr lang="ru-RU"/>
        </a:p>
      </dgm:t>
    </dgm:pt>
    <dgm:pt modelId="{98B03918-3D6E-41F9-BB3F-B4C9614D8DA6}">
      <dgm:prSet/>
      <dgm:spPr/>
      <dgm:t>
        <a:bodyPr/>
        <a:lstStyle/>
        <a:p>
          <a:pPr algn="l"/>
          <a:r>
            <a:rPr lang="ru-RU" dirty="0" smtClean="0"/>
            <a:t>Популяризация инженерных </a:t>
          </a:r>
          <a:r>
            <a:rPr lang="ru-RU" dirty="0"/>
            <a:t>профессий среди школьников</a:t>
          </a:r>
        </a:p>
      </dgm:t>
    </dgm:pt>
    <dgm:pt modelId="{1422DDC2-2D58-40D1-86A7-17EEDE20329C}" type="parTrans" cxnId="{1907C6F9-6D34-407C-B4C4-C670945BA749}">
      <dgm:prSet/>
      <dgm:spPr/>
      <dgm:t>
        <a:bodyPr/>
        <a:lstStyle/>
        <a:p>
          <a:endParaRPr lang="ru-RU"/>
        </a:p>
      </dgm:t>
    </dgm:pt>
    <dgm:pt modelId="{D5CD06FE-C03A-4B18-8D3E-80F0112DA5DD}" type="sibTrans" cxnId="{1907C6F9-6D34-407C-B4C4-C670945BA749}">
      <dgm:prSet/>
      <dgm:spPr/>
      <dgm:t>
        <a:bodyPr/>
        <a:lstStyle/>
        <a:p>
          <a:endParaRPr lang="ru-RU"/>
        </a:p>
      </dgm:t>
    </dgm:pt>
    <dgm:pt modelId="{ADE1078A-A3DC-4604-8A52-CD6324E84626}" type="pres">
      <dgm:prSet presAssocID="{4D3D5295-2D58-4373-9AE5-F937E8B7F001}" presName="vert0" presStyleCnt="0">
        <dgm:presLayoutVars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BA90BA46-C542-439F-9ACE-0C2EFB53F120}" type="pres">
      <dgm:prSet presAssocID="{8C87C845-12A8-4208-8850-AF47EA55DA40}" presName="thickLine" presStyleLbl="alignNode1" presStyleIdx="0" presStyleCnt="1"/>
      <dgm:spPr/>
    </dgm:pt>
    <dgm:pt modelId="{D2737D4A-223D-491E-BF65-D010E1886042}" type="pres">
      <dgm:prSet presAssocID="{8C87C845-12A8-4208-8850-AF47EA55DA40}" presName="horz1" presStyleCnt="0"/>
      <dgm:spPr/>
    </dgm:pt>
    <dgm:pt modelId="{B6972D7A-189A-455D-B4F1-838CC4B1F5E6}" type="pres">
      <dgm:prSet presAssocID="{8C87C845-12A8-4208-8850-AF47EA55DA40}" presName="tx1" presStyleLbl="revTx" presStyleIdx="0" presStyleCnt="4"/>
      <dgm:spPr/>
      <dgm:t>
        <a:bodyPr/>
        <a:lstStyle/>
        <a:p>
          <a:endParaRPr lang="ru-RU"/>
        </a:p>
      </dgm:t>
    </dgm:pt>
    <dgm:pt modelId="{2F62E69A-83C5-4B3F-9C53-389B0F3D871B}" type="pres">
      <dgm:prSet presAssocID="{8C87C845-12A8-4208-8850-AF47EA55DA40}" presName="vert1" presStyleCnt="0"/>
      <dgm:spPr/>
    </dgm:pt>
    <dgm:pt modelId="{9C4B1D4B-5EC1-4B68-88D9-013B40DEC9E2}" type="pres">
      <dgm:prSet presAssocID="{ABBE66F3-CCE4-4FB0-AC6E-E859A94D6A54}" presName="vertSpace2a" presStyleCnt="0"/>
      <dgm:spPr/>
    </dgm:pt>
    <dgm:pt modelId="{709F3181-21F7-485A-86E0-31B19766BEB1}" type="pres">
      <dgm:prSet presAssocID="{ABBE66F3-CCE4-4FB0-AC6E-E859A94D6A54}" presName="horz2" presStyleCnt="0"/>
      <dgm:spPr/>
    </dgm:pt>
    <dgm:pt modelId="{BB2DEBDF-AFD9-438B-AC57-7EDA9090C257}" type="pres">
      <dgm:prSet presAssocID="{ABBE66F3-CCE4-4FB0-AC6E-E859A94D6A54}" presName="horzSpace2" presStyleCnt="0"/>
      <dgm:spPr/>
    </dgm:pt>
    <dgm:pt modelId="{77EDEC23-9623-4317-BEB3-2DCCEF6B633A}" type="pres">
      <dgm:prSet presAssocID="{ABBE66F3-CCE4-4FB0-AC6E-E859A94D6A54}" presName="tx2" presStyleLbl="revTx" presStyleIdx="1" presStyleCnt="4"/>
      <dgm:spPr/>
      <dgm:t>
        <a:bodyPr/>
        <a:lstStyle/>
        <a:p>
          <a:endParaRPr lang="ru-RU"/>
        </a:p>
      </dgm:t>
    </dgm:pt>
    <dgm:pt modelId="{0193D490-DC29-4A00-9CE5-FB30E586D703}" type="pres">
      <dgm:prSet presAssocID="{ABBE66F3-CCE4-4FB0-AC6E-E859A94D6A54}" presName="vert2" presStyleCnt="0"/>
      <dgm:spPr/>
    </dgm:pt>
    <dgm:pt modelId="{72617E45-435F-498D-84E0-4737AEA3B595}" type="pres">
      <dgm:prSet presAssocID="{ABBE66F3-CCE4-4FB0-AC6E-E859A94D6A54}" presName="thinLine2b" presStyleLbl="callout" presStyleIdx="0" presStyleCnt="3"/>
      <dgm:spPr/>
    </dgm:pt>
    <dgm:pt modelId="{2710C669-D2C6-4CAD-A427-432685A78893}" type="pres">
      <dgm:prSet presAssocID="{ABBE66F3-CCE4-4FB0-AC6E-E859A94D6A54}" presName="vertSpace2b" presStyleCnt="0"/>
      <dgm:spPr/>
    </dgm:pt>
    <dgm:pt modelId="{DDF0FA46-30E2-4F19-B266-189DFCEE73AE}" type="pres">
      <dgm:prSet presAssocID="{5E094FF2-5EE5-40D1-9D54-4808FBD5A4F9}" presName="horz2" presStyleCnt="0"/>
      <dgm:spPr/>
    </dgm:pt>
    <dgm:pt modelId="{CA71CAD5-FCB3-4F96-B22A-96BA8F1C39B6}" type="pres">
      <dgm:prSet presAssocID="{5E094FF2-5EE5-40D1-9D54-4808FBD5A4F9}" presName="horzSpace2" presStyleCnt="0"/>
      <dgm:spPr/>
    </dgm:pt>
    <dgm:pt modelId="{B5462C92-25B9-4449-8526-A6740AF9E0AB}" type="pres">
      <dgm:prSet presAssocID="{5E094FF2-5EE5-40D1-9D54-4808FBD5A4F9}" presName="tx2" presStyleLbl="revTx" presStyleIdx="2" presStyleCnt="4" custScaleY="62408"/>
      <dgm:spPr/>
      <dgm:t>
        <a:bodyPr/>
        <a:lstStyle/>
        <a:p>
          <a:endParaRPr lang="ru-RU"/>
        </a:p>
      </dgm:t>
    </dgm:pt>
    <dgm:pt modelId="{441BC1D0-0CC5-454D-8BE4-7A87B6130B46}" type="pres">
      <dgm:prSet presAssocID="{5E094FF2-5EE5-40D1-9D54-4808FBD5A4F9}" presName="vert2" presStyleCnt="0"/>
      <dgm:spPr/>
    </dgm:pt>
    <dgm:pt modelId="{C58001C8-5901-4316-A7E6-31A30D5272BF}" type="pres">
      <dgm:prSet presAssocID="{5E094FF2-5EE5-40D1-9D54-4808FBD5A4F9}" presName="thinLine2b" presStyleLbl="callout" presStyleIdx="1" presStyleCnt="3"/>
      <dgm:spPr/>
    </dgm:pt>
    <dgm:pt modelId="{CCE9434E-D002-4511-A453-D7D0C0D62B99}" type="pres">
      <dgm:prSet presAssocID="{5E094FF2-5EE5-40D1-9D54-4808FBD5A4F9}" presName="vertSpace2b" presStyleCnt="0"/>
      <dgm:spPr/>
    </dgm:pt>
    <dgm:pt modelId="{A6468069-B723-4E39-9EA2-B8FF4C09BB38}" type="pres">
      <dgm:prSet presAssocID="{98B03918-3D6E-41F9-BB3F-B4C9614D8DA6}" presName="horz2" presStyleCnt="0"/>
      <dgm:spPr/>
    </dgm:pt>
    <dgm:pt modelId="{BF136BED-D926-4515-8F14-9951C62382D4}" type="pres">
      <dgm:prSet presAssocID="{98B03918-3D6E-41F9-BB3F-B4C9614D8DA6}" presName="horzSpace2" presStyleCnt="0"/>
      <dgm:spPr/>
    </dgm:pt>
    <dgm:pt modelId="{B8B30315-2CED-4A1F-B4DB-BC5FA02C4E9D}" type="pres">
      <dgm:prSet presAssocID="{98B03918-3D6E-41F9-BB3F-B4C9614D8DA6}" presName="tx2" presStyleLbl="revTx" presStyleIdx="3" presStyleCnt="4"/>
      <dgm:spPr/>
      <dgm:t>
        <a:bodyPr/>
        <a:lstStyle/>
        <a:p>
          <a:endParaRPr lang="ru-RU"/>
        </a:p>
      </dgm:t>
    </dgm:pt>
    <dgm:pt modelId="{D1230782-521A-4AB0-A995-DA427711540B}" type="pres">
      <dgm:prSet presAssocID="{98B03918-3D6E-41F9-BB3F-B4C9614D8DA6}" presName="vert2" presStyleCnt="0"/>
      <dgm:spPr/>
    </dgm:pt>
    <dgm:pt modelId="{DA7EC8A6-47D0-48CA-9287-1F73551B6143}" type="pres">
      <dgm:prSet presAssocID="{98B03918-3D6E-41F9-BB3F-B4C9614D8DA6}" presName="thinLine2b" presStyleLbl="callout" presStyleIdx="2" presStyleCnt="3"/>
      <dgm:spPr/>
    </dgm:pt>
    <dgm:pt modelId="{7CF0567A-9886-453E-8981-723604D12662}" type="pres">
      <dgm:prSet presAssocID="{98B03918-3D6E-41F9-BB3F-B4C9614D8DA6}" presName="vertSpace2b" presStyleCnt="0"/>
      <dgm:spPr/>
    </dgm:pt>
  </dgm:ptLst>
  <dgm:cxnLst>
    <dgm:cxn modelId="{B8A58407-6AE5-4681-8FC9-ABE49D8ECAA8}" srcId="{4D3D5295-2D58-4373-9AE5-F937E8B7F001}" destId="{8C87C845-12A8-4208-8850-AF47EA55DA40}" srcOrd="0" destOrd="0" parTransId="{8D3E6B5D-08FB-4F4B-9A9A-0AD867586A4C}" sibTransId="{1028C7CC-D566-42F1-B627-DAFD59ADB743}"/>
    <dgm:cxn modelId="{A24A34D6-533C-46F1-95D9-3F636F7411B4}" srcId="{8C87C845-12A8-4208-8850-AF47EA55DA40}" destId="{5E094FF2-5EE5-40D1-9D54-4808FBD5A4F9}" srcOrd="1" destOrd="0" parTransId="{019C34F2-25B6-47EE-8EC8-84A3C26209D2}" sibTransId="{2B6FDE3F-FA0E-485B-9CB4-9A674BBFE56E}"/>
    <dgm:cxn modelId="{56CE7D4C-C136-47DD-872F-CFB556D2298E}" type="presOf" srcId="{ABBE66F3-CCE4-4FB0-AC6E-E859A94D6A54}" destId="{77EDEC23-9623-4317-BEB3-2DCCEF6B633A}" srcOrd="0" destOrd="0" presId="urn:microsoft.com/office/officeart/2008/layout/LinedList"/>
    <dgm:cxn modelId="{63EEEC7F-E951-44A7-A4EE-2D1F34A01DEA}" type="presOf" srcId="{4D3D5295-2D58-4373-9AE5-F937E8B7F001}" destId="{ADE1078A-A3DC-4604-8A52-CD6324E84626}" srcOrd="0" destOrd="0" presId="urn:microsoft.com/office/officeart/2008/layout/LinedList"/>
    <dgm:cxn modelId="{E2DB24B3-049A-4B1C-B901-7C9D704B4179}" type="presOf" srcId="{5E094FF2-5EE5-40D1-9D54-4808FBD5A4F9}" destId="{B5462C92-25B9-4449-8526-A6740AF9E0AB}" srcOrd="0" destOrd="0" presId="urn:microsoft.com/office/officeart/2008/layout/LinedList"/>
    <dgm:cxn modelId="{824034F8-8BB5-41B0-A012-56E36CF53689}" srcId="{8C87C845-12A8-4208-8850-AF47EA55DA40}" destId="{ABBE66F3-CCE4-4FB0-AC6E-E859A94D6A54}" srcOrd="0" destOrd="0" parTransId="{0428B1C7-CA28-422B-AF78-CAD5C7D24E04}" sibTransId="{FA52FD61-3176-4AFC-A185-3443C916930F}"/>
    <dgm:cxn modelId="{E1D8C5FE-98F1-4741-B111-450BCE9AAE5D}" type="presOf" srcId="{8C87C845-12A8-4208-8850-AF47EA55DA40}" destId="{B6972D7A-189A-455D-B4F1-838CC4B1F5E6}" srcOrd="0" destOrd="0" presId="urn:microsoft.com/office/officeart/2008/layout/LinedList"/>
    <dgm:cxn modelId="{53BB7AB4-DC39-4E61-AD8F-25CCA7BC3305}" type="presOf" srcId="{98B03918-3D6E-41F9-BB3F-B4C9614D8DA6}" destId="{B8B30315-2CED-4A1F-B4DB-BC5FA02C4E9D}" srcOrd="0" destOrd="0" presId="urn:microsoft.com/office/officeart/2008/layout/LinedList"/>
    <dgm:cxn modelId="{1907C6F9-6D34-407C-B4C4-C670945BA749}" srcId="{8C87C845-12A8-4208-8850-AF47EA55DA40}" destId="{98B03918-3D6E-41F9-BB3F-B4C9614D8DA6}" srcOrd="2" destOrd="0" parTransId="{1422DDC2-2D58-40D1-86A7-17EEDE20329C}" sibTransId="{D5CD06FE-C03A-4B18-8D3E-80F0112DA5DD}"/>
    <dgm:cxn modelId="{45AE32CC-344E-43EF-A678-F5CAD38DCC04}" type="presParOf" srcId="{ADE1078A-A3DC-4604-8A52-CD6324E84626}" destId="{BA90BA46-C542-439F-9ACE-0C2EFB53F120}" srcOrd="0" destOrd="0" presId="urn:microsoft.com/office/officeart/2008/layout/LinedList"/>
    <dgm:cxn modelId="{4FBFA1B2-DA99-4E6C-B54A-7FAD9DF6990C}" type="presParOf" srcId="{ADE1078A-A3DC-4604-8A52-CD6324E84626}" destId="{D2737D4A-223D-491E-BF65-D010E1886042}" srcOrd="1" destOrd="0" presId="urn:microsoft.com/office/officeart/2008/layout/LinedList"/>
    <dgm:cxn modelId="{C7902748-7136-4959-A096-34F9C2FF1B56}" type="presParOf" srcId="{D2737D4A-223D-491E-BF65-D010E1886042}" destId="{B6972D7A-189A-455D-B4F1-838CC4B1F5E6}" srcOrd="0" destOrd="0" presId="urn:microsoft.com/office/officeart/2008/layout/LinedList"/>
    <dgm:cxn modelId="{B45CA57D-0380-46D4-ACED-ECD1DBE8AE74}" type="presParOf" srcId="{D2737D4A-223D-491E-BF65-D010E1886042}" destId="{2F62E69A-83C5-4B3F-9C53-389B0F3D871B}" srcOrd="1" destOrd="0" presId="urn:microsoft.com/office/officeart/2008/layout/LinedList"/>
    <dgm:cxn modelId="{01663832-5E0E-4DEA-AB4F-A54A944D006C}" type="presParOf" srcId="{2F62E69A-83C5-4B3F-9C53-389B0F3D871B}" destId="{9C4B1D4B-5EC1-4B68-88D9-013B40DEC9E2}" srcOrd="0" destOrd="0" presId="urn:microsoft.com/office/officeart/2008/layout/LinedList"/>
    <dgm:cxn modelId="{A4947A65-D0BD-4284-86FD-133767DC2483}" type="presParOf" srcId="{2F62E69A-83C5-4B3F-9C53-389B0F3D871B}" destId="{709F3181-21F7-485A-86E0-31B19766BEB1}" srcOrd="1" destOrd="0" presId="urn:microsoft.com/office/officeart/2008/layout/LinedList"/>
    <dgm:cxn modelId="{FF9F4ACD-51D4-4805-8B34-ABD34BD8E9FC}" type="presParOf" srcId="{709F3181-21F7-485A-86E0-31B19766BEB1}" destId="{BB2DEBDF-AFD9-438B-AC57-7EDA9090C257}" srcOrd="0" destOrd="0" presId="urn:microsoft.com/office/officeart/2008/layout/LinedList"/>
    <dgm:cxn modelId="{C40CB72A-A87A-40F6-A2E4-5AD5A5639435}" type="presParOf" srcId="{709F3181-21F7-485A-86E0-31B19766BEB1}" destId="{77EDEC23-9623-4317-BEB3-2DCCEF6B633A}" srcOrd="1" destOrd="0" presId="urn:microsoft.com/office/officeart/2008/layout/LinedList"/>
    <dgm:cxn modelId="{F591F568-271D-4AE5-9465-F11F137B889C}" type="presParOf" srcId="{709F3181-21F7-485A-86E0-31B19766BEB1}" destId="{0193D490-DC29-4A00-9CE5-FB30E586D703}" srcOrd="2" destOrd="0" presId="urn:microsoft.com/office/officeart/2008/layout/LinedList"/>
    <dgm:cxn modelId="{669D8556-91A8-4FA1-939D-9A0BAB1B63C9}" type="presParOf" srcId="{2F62E69A-83C5-4B3F-9C53-389B0F3D871B}" destId="{72617E45-435F-498D-84E0-4737AEA3B595}" srcOrd="2" destOrd="0" presId="urn:microsoft.com/office/officeart/2008/layout/LinedList"/>
    <dgm:cxn modelId="{05950E13-3365-4D6D-907C-DFB5EEC5E05A}" type="presParOf" srcId="{2F62E69A-83C5-4B3F-9C53-389B0F3D871B}" destId="{2710C669-D2C6-4CAD-A427-432685A78893}" srcOrd="3" destOrd="0" presId="urn:microsoft.com/office/officeart/2008/layout/LinedList"/>
    <dgm:cxn modelId="{E4A5C3C7-8469-4FA2-815E-6CD9D765E9A6}" type="presParOf" srcId="{2F62E69A-83C5-4B3F-9C53-389B0F3D871B}" destId="{DDF0FA46-30E2-4F19-B266-189DFCEE73AE}" srcOrd="4" destOrd="0" presId="urn:microsoft.com/office/officeart/2008/layout/LinedList"/>
    <dgm:cxn modelId="{31CF8A2F-0237-428C-9546-9294130064B2}" type="presParOf" srcId="{DDF0FA46-30E2-4F19-B266-189DFCEE73AE}" destId="{CA71CAD5-FCB3-4F96-B22A-96BA8F1C39B6}" srcOrd="0" destOrd="0" presId="urn:microsoft.com/office/officeart/2008/layout/LinedList"/>
    <dgm:cxn modelId="{3F8BB156-C3E2-427C-89A9-ACC6EA4755D6}" type="presParOf" srcId="{DDF0FA46-30E2-4F19-B266-189DFCEE73AE}" destId="{B5462C92-25B9-4449-8526-A6740AF9E0AB}" srcOrd="1" destOrd="0" presId="urn:microsoft.com/office/officeart/2008/layout/LinedList"/>
    <dgm:cxn modelId="{EDCFFE57-DAC7-476F-AEE7-4B4A0A9143D9}" type="presParOf" srcId="{DDF0FA46-30E2-4F19-B266-189DFCEE73AE}" destId="{441BC1D0-0CC5-454D-8BE4-7A87B6130B46}" srcOrd="2" destOrd="0" presId="urn:microsoft.com/office/officeart/2008/layout/LinedList"/>
    <dgm:cxn modelId="{D0991872-4BBE-434B-9E47-BB834740AA69}" type="presParOf" srcId="{2F62E69A-83C5-4B3F-9C53-389B0F3D871B}" destId="{C58001C8-5901-4316-A7E6-31A30D5272BF}" srcOrd="5" destOrd="0" presId="urn:microsoft.com/office/officeart/2008/layout/LinedList"/>
    <dgm:cxn modelId="{9AD3BB57-575B-4309-AB95-BC044D641BFF}" type="presParOf" srcId="{2F62E69A-83C5-4B3F-9C53-389B0F3D871B}" destId="{CCE9434E-D002-4511-A453-D7D0C0D62B99}" srcOrd="6" destOrd="0" presId="urn:microsoft.com/office/officeart/2008/layout/LinedList"/>
    <dgm:cxn modelId="{766C2D14-E0CB-4941-853D-0A62FB47EA17}" type="presParOf" srcId="{2F62E69A-83C5-4B3F-9C53-389B0F3D871B}" destId="{A6468069-B723-4E39-9EA2-B8FF4C09BB38}" srcOrd="7" destOrd="0" presId="urn:microsoft.com/office/officeart/2008/layout/LinedList"/>
    <dgm:cxn modelId="{BCC964E0-878D-46FC-BBC7-85601F58E4CD}" type="presParOf" srcId="{A6468069-B723-4E39-9EA2-B8FF4C09BB38}" destId="{BF136BED-D926-4515-8F14-9951C62382D4}" srcOrd="0" destOrd="0" presId="urn:microsoft.com/office/officeart/2008/layout/LinedList"/>
    <dgm:cxn modelId="{AB73899C-E2ED-4A46-AC4A-7E7B8ABB0BFC}" type="presParOf" srcId="{A6468069-B723-4E39-9EA2-B8FF4C09BB38}" destId="{B8B30315-2CED-4A1F-B4DB-BC5FA02C4E9D}" srcOrd="1" destOrd="0" presId="urn:microsoft.com/office/officeart/2008/layout/LinedList"/>
    <dgm:cxn modelId="{08DA785B-22CC-4A75-8E80-1FBBEE4BECAD}" type="presParOf" srcId="{A6468069-B723-4E39-9EA2-B8FF4C09BB38}" destId="{D1230782-521A-4AB0-A995-DA427711540B}" srcOrd="2" destOrd="0" presId="urn:microsoft.com/office/officeart/2008/layout/LinedList"/>
    <dgm:cxn modelId="{5E29A927-B586-4809-A014-21E6219D9CAF}" type="presParOf" srcId="{2F62E69A-83C5-4B3F-9C53-389B0F3D871B}" destId="{DA7EC8A6-47D0-48CA-9287-1F73551B6143}" srcOrd="8" destOrd="0" presId="urn:microsoft.com/office/officeart/2008/layout/LinedList"/>
    <dgm:cxn modelId="{2E9734F5-5D81-403D-A0EA-28A917975104}" type="presParOf" srcId="{2F62E69A-83C5-4B3F-9C53-389B0F3D871B}" destId="{7CF0567A-9886-453E-8981-723604D12662}" srcOrd="9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BC0FD0C-C0B2-4FF4-92FA-D5E6B47ED479}" type="doc">
      <dgm:prSet loTypeId="urn:microsoft.com/office/officeart/2005/8/layout/bProcess3" loCatId="process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74797182-10E6-4251-A6EC-1B95FB8C8C77}">
      <dgm:prSet/>
      <dgm:spPr/>
      <dgm:t>
        <a:bodyPr/>
        <a:lstStyle/>
        <a:p>
          <a:pPr algn="ctr"/>
          <a:r>
            <a:rPr lang="ru-RU" b="1" i="0" baseline="0" dirty="0"/>
            <a:t>29 августа – </a:t>
          </a:r>
        </a:p>
        <a:p>
          <a:pPr algn="ctr"/>
          <a:r>
            <a:rPr lang="ru-RU" b="1" i="0" baseline="0" dirty="0"/>
            <a:t>22 сентября</a:t>
          </a:r>
        </a:p>
        <a:p>
          <a:pPr algn="ctr"/>
          <a:r>
            <a:rPr lang="ru-RU" i="0" baseline="0" dirty="0"/>
            <a:t>Регистрация</a:t>
          </a:r>
          <a:endParaRPr lang="ru-RU" dirty="0"/>
        </a:p>
      </dgm:t>
    </dgm:pt>
    <dgm:pt modelId="{55C7AFE4-6C12-451D-BEF7-C19D697988DC}" type="parTrans" cxnId="{AF570B62-8C65-4392-B9C8-E4CCE6F4828B}">
      <dgm:prSet/>
      <dgm:spPr/>
      <dgm:t>
        <a:bodyPr/>
        <a:lstStyle/>
        <a:p>
          <a:pPr algn="ctr"/>
          <a:endParaRPr lang="ru-RU"/>
        </a:p>
      </dgm:t>
    </dgm:pt>
    <dgm:pt modelId="{FC2AEB55-2810-4CA3-B5BA-E65D0BC280CD}" type="sibTrans" cxnId="{AF570B62-8C65-4392-B9C8-E4CCE6F4828B}">
      <dgm:prSet/>
      <dgm:spPr/>
      <dgm:t>
        <a:bodyPr/>
        <a:lstStyle/>
        <a:p>
          <a:pPr algn="ctr"/>
          <a:endParaRPr lang="ru-RU"/>
        </a:p>
      </dgm:t>
    </dgm:pt>
    <dgm:pt modelId="{45D3AEF5-5CE1-442C-A9B3-293281DA77F4}">
      <dgm:prSet/>
      <dgm:spPr/>
      <dgm:t>
        <a:bodyPr/>
        <a:lstStyle/>
        <a:p>
          <a:pPr algn="ctr"/>
          <a:r>
            <a:rPr lang="ru-RU" b="1" i="0" baseline="0" dirty="0" smtClean="0"/>
            <a:t>15, 16, 21 </a:t>
          </a:r>
          <a:r>
            <a:rPr lang="ru-RU" b="1" i="0" baseline="0" dirty="0"/>
            <a:t>сентября </a:t>
          </a:r>
          <a:r>
            <a:rPr lang="ru-RU" b="1" i="0" baseline="0" dirty="0" smtClean="0"/>
            <a:t> </a:t>
          </a:r>
          <a:r>
            <a:rPr lang="ru-RU" i="0" baseline="0" dirty="0" smtClean="0"/>
            <a:t>Установочные </a:t>
          </a:r>
          <a:r>
            <a:rPr lang="ru-RU" i="0" baseline="0" dirty="0"/>
            <a:t>вебинары</a:t>
          </a:r>
          <a:endParaRPr lang="ru-RU" dirty="0"/>
        </a:p>
      </dgm:t>
    </dgm:pt>
    <dgm:pt modelId="{1C7573AE-0337-4B79-9AE1-15A5D4AC0482}" type="parTrans" cxnId="{5D695BD4-023F-46E6-8FB6-5DA91A4F6BA6}">
      <dgm:prSet/>
      <dgm:spPr/>
      <dgm:t>
        <a:bodyPr/>
        <a:lstStyle/>
        <a:p>
          <a:pPr algn="ctr"/>
          <a:endParaRPr lang="ru-RU"/>
        </a:p>
      </dgm:t>
    </dgm:pt>
    <dgm:pt modelId="{3AFB4AF0-4B26-49A6-ADE9-98B217DE15F3}" type="sibTrans" cxnId="{5D695BD4-023F-46E6-8FB6-5DA91A4F6BA6}">
      <dgm:prSet/>
      <dgm:spPr/>
      <dgm:t>
        <a:bodyPr/>
        <a:lstStyle/>
        <a:p>
          <a:pPr algn="ctr"/>
          <a:endParaRPr lang="ru-RU"/>
        </a:p>
      </dgm:t>
    </dgm:pt>
    <dgm:pt modelId="{55BD060D-54EE-4DFB-9252-2D6467D97A3D}">
      <dgm:prSet custT="1"/>
      <dgm:spPr/>
      <dgm:t>
        <a:bodyPr/>
        <a:lstStyle/>
        <a:p>
          <a:pPr algn="ctr"/>
          <a:r>
            <a:rPr lang="en-US" sz="2300" b="1" i="0" baseline="0" dirty="0"/>
            <a:t>15-22 </a:t>
          </a:r>
          <a:r>
            <a:rPr lang="ru-RU" sz="2300" b="1" i="0" baseline="0" dirty="0"/>
            <a:t>сентября</a:t>
          </a:r>
        </a:p>
        <a:p>
          <a:pPr algn="ctr"/>
          <a:r>
            <a:rPr lang="ru-RU" sz="2000" i="0" baseline="0" dirty="0"/>
            <a:t>Вводный курс «Введение в профессию инженера»</a:t>
          </a:r>
          <a:endParaRPr lang="ru-RU" sz="2000" dirty="0"/>
        </a:p>
      </dgm:t>
    </dgm:pt>
    <dgm:pt modelId="{084C9116-9713-4293-9409-6F20EA24664A}" type="parTrans" cxnId="{035C80BB-3E3F-4790-803A-120471065302}">
      <dgm:prSet/>
      <dgm:spPr/>
      <dgm:t>
        <a:bodyPr/>
        <a:lstStyle/>
        <a:p>
          <a:pPr algn="ctr"/>
          <a:endParaRPr lang="ru-RU"/>
        </a:p>
      </dgm:t>
    </dgm:pt>
    <dgm:pt modelId="{4C567DB2-5EFB-47CD-A50D-D0F1F4D52F12}" type="sibTrans" cxnId="{035C80BB-3E3F-4790-803A-120471065302}">
      <dgm:prSet/>
      <dgm:spPr/>
      <dgm:t>
        <a:bodyPr/>
        <a:lstStyle/>
        <a:p>
          <a:pPr algn="ctr"/>
          <a:endParaRPr lang="ru-RU"/>
        </a:p>
      </dgm:t>
    </dgm:pt>
    <dgm:pt modelId="{E5CB8906-6EF6-4F0C-9AF2-F04AA001B1F3}">
      <dgm:prSet/>
      <dgm:spPr/>
      <dgm:t>
        <a:bodyPr/>
        <a:lstStyle/>
        <a:p>
          <a:pPr algn="ctr"/>
          <a:r>
            <a:rPr lang="ru-RU" b="1" i="0" baseline="0" dirty="0"/>
            <a:t>23-24 сентября</a:t>
          </a:r>
        </a:p>
        <a:p>
          <a:pPr algn="ctr"/>
          <a:r>
            <a:rPr lang="ru-RU" i="0" baseline="0" dirty="0"/>
            <a:t>Конкурсный отбор</a:t>
          </a:r>
          <a:endParaRPr lang="ru-RU" dirty="0"/>
        </a:p>
      </dgm:t>
    </dgm:pt>
    <dgm:pt modelId="{B694AE33-C3C7-4BF8-A542-197756E6FD90}" type="parTrans" cxnId="{6685F8E6-096A-4FE4-8974-10839C5FCF5E}">
      <dgm:prSet/>
      <dgm:spPr/>
      <dgm:t>
        <a:bodyPr/>
        <a:lstStyle/>
        <a:p>
          <a:pPr algn="ctr"/>
          <a:endParaRPr lang="ru-RU"/>
        </a:p>
      </dgm:t>
    </dgm:pt>
    <dgm:pt modelId="{9D156905-9755-4FBA-8F1C-1257B08B4E53}" type="sibTrans" cxnId="{6685F8E6-096A-4FE4-8974-10839C5FCF5E}">
      <dgm:prSet/>
      <dgm:spPr/>
      <dgm:t>
        <a:bodyPr/>
        <a:lstStyle/>
        <a:p>
          <a:pPr algn="ctr"/>
          <a:endParaRPr lang="ru-RU"/>
        </a:p>
      </dgm:t>
    </dgm:pt>
    <dgm:pt modelId="{A7484743-03BF-4B5A-AEE2-4F7C0D85AC2A}">
      <dgm:prSet/>
      <dgm:spPr/>
      <dgm:t>
        <a:bodyPr/>
        <a:lstStyle/>
        <a:p>
          <a:pPr algn="ctr"/>
          <a:r>
            <a:rPr lang="ru-RU" b="1" i="0" baseline="0" dirty="0"/>
            <a:t>29 сентября – 03 октября</a:t>
          </a:r>
        </a:p>
        <a:p>
          <a:pPr algn="ctr"/>
          <a:r>
            <a:rPr lang="ru-RU" i="0" baseline="0" dirty="0"/>
            <a:t>Зачисление</a:t>
          </a:r>
          <a:endParaRPr lang="ru-RU" dirty="0"/>
        </a:p>
      </dgm:t>
    </dgm:pt>
    <dgm:pt modelId="{703BA63E-130A-414C-A3B5-1FA7C80E69CD}" type="parTrans" cxnId="{F8FA7E24-7C12-4DD9-9C32-D788D22165F1}">
      <dgm:prSet/>
      <dgm:spPr/>
      <dgm:t>
        <a:bodyPr/>
        <a:lstStyle/>
        <a:p>
          <a:pPr algn="ctr"/>
          <a:endParaRPr lang="ru-RU"/>
        </a:p>
      </dgm:t>
    </dgm:pt>
    <dgm:pt modelId="{8891E561-3A98-4754-BD1E-C1D6ECAA43EA}" type="sibTrans" cxnId="{F8FA7E24-7C12-4DD9-9C32-D788D22165F1}">
      <dgm:prSet/>
      <dgm:spPr/>
      <dgm:t>
        <a:bodyPr/>
        <a:lstStyle/>
        <a:p>
          <a:pPr algn="ctr"/>
          <a:endParaRPr lang="ru-RU"/>
        </a:p>
      </dgm:t>
    </dgm:pt>
    <dgm:pt modelId="{DE0CD98B-0B3F-4A0E-A038-F889904A0CB7}">
      <dgm:prSet/>
      <dgm:spPr/>
      <dgm:t>
        <a:bodyPr/>
        <a:lstStyle/>
        <a:p>
          <a:pPr algn="ctr"/>
          <a:r>
            <a:rPr lang="ru-RU" i="0" baseline="0" dirty="0"/>
            <a:t>05-06 октября</a:t>
          </a:r>
        </a:p>
        <a:p>
          <a:pPr algn="ctr"/>
          <a:r>
            <a:rPr lang="ru-RU" b="1" i="0" baseline="0" dirty="0"/>
            <a:t>Старт обучения</a:t>
          </a:r>
          <a:endParaRPr lang="ru-RU" b="1" dirty="0"/>
        </a:p>
      </dgm:t>
    </dgm:pt>
    <dgm:pt modelId="{5023AD50-8A27-451C-9564-AA370D40B714}" type="parTrans" cxnId="{B9013178-4C4E-4535-9B76-D4DFFEC2E818}">
      <dgm:prSet/>
      <dgm:spPr/>
      <dgm:t>
        <a:bodyPr/>
        <a:lstStyle/>
        <a:p>
          <a:pPr algn="ctr"/>
          <a:endParaRPr lang="ru-RU"/>
        </a:p>
      </dgm:t>
    </dgm:pt>
    <dgm:pt modelId="{A5576015-E852-4E8A-A04E-D41061F9EE92}" type="sibTrans" cxnId="{B9013178-4C4E-4535-9B76-D4DFFEC2E818}">
      <dgm:prSet/>
      <dgm:spPr/>
      <dgm:t>
        <a:bodyPr/>
        <a:lstStyle/>
        <a:p>
          <a:pPr algn="ctr"/>
          <a:endParaRPr lang="ru-RU"/>
        </a:p>
      </dgm:t>
    </dgm:pt>
    <dgm:pt modelId="{83DD43C2-0093-408A-AE51-2A1A338F5B01}" type="pres">
      <dgm:prSet presAssocID="{DBC0FD0C-C0B2-4FF4-92FA-D5E6B47ED479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8746E0E-21EC-401B-B4DB-936E9888AE2F}" type="pres">
      <dgm:prSet presAssocID="{74797182-10E6-4251-A6EC-1B95FB8C8C77}" presName="node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4A8161-D5FB-470F-86B0-0D804FA4D867}" type="pres">
      <dgm:prSet presAssocID="{FC2AEB55-2810-4CA3-B5BA-E65D0BC280CD}" presName="sibTrans" presStyleLbl="sibTrans1D1" presStyleIdx="0" presStyleCnt="5"/>
      <dgm:spPr/>
      <dgm:t>
        <a:bodyPr/>
        <a:lstStyle/>
        <a:p>
          <a:endParaRPr lang="ru-RU"/>
        </a:p>
      </dgm:t>
    </dgm:pt>
    <dgm:pt modelId="{F4ED081F-C54B-4B3D-86B2-0AE2C1C204B2}" type="pres">
      <dgm:prSet presAssocID="{FC2AEB55-2810-4CA3-B5BA-E65D0BC280CD}" presName="connectorText" presStyleLbl="sibTrans1D1" presStyleIdx="0" presStyleCnt="5"/>
      <dgm:spPr/>
      <dgm:t>
        <a:bodyPr/>
        <a:lstStyle/>
        <a:p>
          <a:endParaRPr lang="ru-RU"/>
        </a:p>
      </dgm:t>
    </dgm:pt>
    <dgm:pt modelId="{26D8D6AE-0FED-4F05-BB37-F17BB449B9B5}" type="pres">
      <dgm:prSet presAssocID="{45D3AEF5-5CE1-442C-A9B3-293281DA77F4}" presName="node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F534F15-7B52-48CF-8962-0D13259DA696}" type="pres">
      <dgm:prSet presAssocID="{3AFB4AF0-4B26-49A6-ADE9-98B217DE15F3}" presName="sibTrans" presStyleLbl="sibTrans1D1" presStyleIdx="1" presStyleCnt="5"/>
      <dgm:spPr/>
      <dgm:t>
        <a:bodyPr/>
        <a:lstStyle/>
        <a:p>
          <a:endParaRPr lang="ru-RU"/>
        </a:p>
      </dgm:t>
    </dgm:pt>
    <dgm:pt modelId="{AB6B0B7D-3E1B-4DD2-80FA-339CC08AFC4D}" type="pres">
      <dgm:prSet presAssocID="{3AFB4AF0-4B26-49A6-ADE9-98B217DE15F3}" presName="connectorText" presStyleLbl="sibTrans1D1" presStyleIdx="1" presStyleCnt="5"/>
      <dgm:spPr/>
      <dgm:t>
        <a:bodyPr/>
        <a:lstStyle/>
        <a:p>
          <a:endParaRPr lang="ru-RU"/>
        </a:p>
      </dgm:t>
    </dgm:pt>
    <dgm:pt modelId="{9D8741B3-BCE8-434E-9BE1-4407EC37853B}" type="pres">
      <dgm:prSet presAssocID="{55BD060D-54EE-4DFB-9252-2D6467D97A3D}" presName="node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29C5037-ACF2-44B3-8322-9F57A051171D}" type="pres">
      <dgm:prSet presAssocID="{4C567DB2-5EFB-47CD-A50D-D0F1F4D52F12}" presName="sibTrans" presStyleLbl="sibTrans1D1" presStyleIdx="2" presStyleCnt="5"/>
      <dgm:spPr/>
      <dgm:t>
        <a:bodyPr/>
        <a:lstStyle/>
        <a:p>
          <a:endParaRPr lang="ru-RU"/>
        </a:p>
      </dgm:t>
    </dgm:pt>
    <dgm:pt modelId="{1E38A393-35B9-4B01-94C2-3CFE38A43701}" type="pres">
      <dgm:prSet presAssocID="{4C567DB2-5EFB-47CD-A50D-D0F1F4D52F12}" presName="connectorText" presStyleLbl="sibTrans1D1" presStyleIdx="2" presStyleCnt="5"/>
      <dgm:spPr/>
      <dgm:t>
        <a:bodyPr/>
        <a:lstStyle/>
        <a:p>
          <a:endParaRPr lang="ru-RU"/>
        </a:p>
      </dgm:t>
    </dgm:pt>
    <dgm:pt modelId="{3A7A1F28-F1BD-4B06-A628-5809BB0E51C1}" type="pres">
      <dgm:prSet presAssocID="{E5CB8906-6EF6-4F0C-9AF2-F04AA001B1F3}" presName="node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BDCCC4-06EE-4145-9C06-ABB192D636D0}" type="pres">
      <dgm:prSet presAssocID="{9D156905-9755-4FBA-8F1C-1257B08B4E53}" presName="sibTrans" presStyleLbl="sibTrans1D1" presStyleIdx="3" presStyleCnt="5"/>
      <dgm:spPr/>
      <dgm:t>
        <a:bodyPr/>
        <a:lstStyle/>
        <a:p>
          <a:endParaRPr lang="ru-RU"/>
        </a:p>
      </dgm:t>
    </dgm:pt>
    <dgm:pt modelId="{87D1A273-5E65-4727-8D1C-CDACE5834E1C}" type="pres">
      <dgm:prSet presAssocID="{9D156905-9755-4FBA-8F1C-1257B08B4E53}" presName="connectorText" presStyleLbl="sibTrans1D1" presStyleIdx="3" presStyleCnt="5"/>
      <dgm:spPr/>
      <dgm:t>
        <a:bodyPr/>
        <a:lstStyle/>
        <a:p>
          <a:endParaRPr lang="ru-RU"/>
        </a:p>
      </dgm:t>
    </dgm:pt>
    <dgm:pt modelId="{6B5AE62D-DB6C-4123-B436-CEF7CFF651D4}" type="pres">
      <dgm:prSet presAssocID="{A7484743-03BF-4B5A-AEE2-4F7C0D85AC2A}" presName="node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A5A5861-2BB6-42AE-A91A-23F2A0E2D586}" type="pres">
      <dgm:prSet presAssocID="{8891E561-3A98-4754-BD1E-C1D6ECAA43EA}" presName="sibTrans" presStyleLbl="sibTrans1D1" presStyleIdx="4" presStyleCnt="5"/>
      <dgm:spPr/>
      <dgm:t>
        <a:bodyPr/>
        <a:lstStyle/>
        <a:p>
          <a:endParaRPr lang="ru-RU"/>
        </a:p>
      </dgm:t>
    </dgm:pt>
    <dgm:pt modelId="{35D1C184-88DD-4CB8-9DEA-CE285993196C}" type="pres">
      <dgm:prSet presAssocID="{8891E561-3A98-4754-BD1E-C1D6ECAA43EA}" presName="connectorText" presStyleLbl="sibTrans1D1" presStyleIdx="4" presStyleCnt="5"/>
      <dgm:spPr/>
      <dgm:t>
        <a:bodyPr/>
        <a:lstStyle/>
        <a:p>
          <a:endParaRPr lang="ru-RU"/>
        </a:p>
      </dgm:t>
    </dgm:pt>
    <dgm:pt modelId="{C58005B6-AB89-4E96-8377-FFAABEE7F7F9}" type="pres">
      <dgm:prSet presAssocID="{DE0CD98B-0B3F-4A0E-A038-F889904A0CB7}" presName="node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EA1A9E5-B961-4784-B702-638666C5115E}" type="presOf" srcId="{A7484743-03BF-4B5A-AEE2-4F7C0D85AC2A}" destId="{6B5AE62D-DB6C-4123-B436-CEF7CFF651D4}" srcOrd="0" destOrd="0" presId="urn:microsoft.com/office/officeart/2005/8/layout/bProcess3"/>
    <dgm:cxn modelId="{B2CD315E-88D2-4E5E-B341-C77ECB3D788D}" type="presOf" srcId="{DE0CD98B-0B3F-4A0E-A038-F889904A0CB7}" destId="{C58005B6-AB89-4E96-8377-FFAABEE7F7F9}" srcOrd="0" destOrd="0" presId="urn:microsoft.com/office/officeart/2005/8/layout/bProcess3"/>
    <dgm:cxn modelId="{3E13F630-4E02-4FD7-92E7-DB789CD68533}" type="presOf" srcId="{45D3AEF5-5CE1-442C-A9B3-293281DA77F4}" destId="{26D8D6AE-0FED-4F05-BB37-F17BB449B9B5}" srcOrd="0" destOrd="0" presId="urn:microsoft.com/office/officeart/2005/8/layout/bProcess3"/>
    <dgm:cxn modelId="{DBDED1A5-0034-4927-B74B-FFC0BD886B45}" type="presOf" srcId="{3AFB4AF0-4B26-49A6-ADE9-98B217DE15F3}" destId="{AF534F15-7B52-48CF-8962-0D13259DA696}" srcOrd="0" destOrd="0" presId="urn:microsoft.com/office/officeart/2005/8/layout/bProcess3"/>
    <dgm:cxn modelId="{7C787B64-CC44-4D91-A55C-1275159BEF70}" type="presOf" srcId="{FC2AEB55-2810-4CA3-B5BA-E65D0BC280CD}" destId="{0A4A8161-D5FB-470F-86B0-0D804FA4D867}" srcOrd="0" destOrd="0" presId="urn:microsoft.com/office/officeart/2005/8/layout/bProcess3"/>
    <dgm:cxn modelId="{43150765-EA0D-4AA7-9F73-45CB04A0BD0B}" type="presOf" srcId="{4C567DB2-5EFB-47CD-A50D-D0F1F4D52F12}" destId="{1E38A393-35B9-4B01-94C2-3CFE38A43701}" srcOrd="1" destOrd="0" presId="urn:microsoft.com/office/officeart/2005/8/layout/bProcess3"/>
    <dgm:cxn modelId="{1A1FA539-C516-4F1D-B01F-A771CF403FEF}" type="presOf" srcId="{9D156905-9755-4FBA-8F1C-1257B08B4E53}" destId="{87D1A273-5E65-4727-8D1C-CDACE5834E1C}" srcOrd="1" destOrd="0" presId="urn:microsoft.com/office/officeart/2005/8/layout/bProcess3"/>
    <dgm:cxn modelId="{86390567-A38C-4E97-AAB2-6317EE69B8A3}" type="presOf" srcId="{DBC0FD0C-C0B2-4FF4-92FA-D5E6B47ED479}" destId="{83DD43C2-0093-408A-AE51-2A1A338F5B01}" srcOrd="0" destOrd="0" presId="urn:microsoft.com/office/officeart/2005/8/layout/bProcess3"/>
    <dgm:cxn modelId="{6685F8E6-096A-4FE4-8974-10839C5FCF5E}" srcId="{DBC0FD0C-C0B2-4FF4-92FA-D5E6B47ED479}" destId="{E5CB8906-6EF6-4F0C-9AF2-F04AA001B1F3}" srcOrd="3" destOrd="0" parTransId="{B694AE33-C3C7-4BF8-A542-197756E6FD90}" sibTransId="{9D156905-9755-4FBA-8F1C-1257B08B4E53}"/>
    <dgm:cxn modelId="{C2129969-2212-46DA-96E0-886501589B95}" type="presOf" srcId="{8891E561-3A98-4754-BD1E-C1D6ECAA43EA}" destId="{35D1C184-88DD-4CB8-9DEA-CE285993196C}" srcOrd="1" destOrd="0" presId="urn:microsoft.com/office/officeart/2005/8/layout/bProcess3"/>
    <dgm:cxn modelId="{EFF3ACC0-D4E1-431E-911E-42BF3073F45B}" type="presOf" srcId="{3AFB4AF0-4B26-49A6-ADE9-98B217DE15F3}" destId="{AB6B0B7D-3E1B-4DD2-80FA-339CC08AFC4D}" srcOrd="1" destOrd="0" presId="urn:microsoft.com/office/officeart/2005/8/layout/bProcess3"/>
    <dgm:cxn modelId="{81E5F39E-BC20-422B-993B-ED9B03953E68}" type="presOf" srcId="{8891E561-3A98-4754-BD1E-C1D6ECAA43EA}" destId="{AA5A5861-2BB6-42AE-A91A-23F2A0E2D586}" srcOrd="0" destOrd="0" presId="urn:microsoft.com/office/officeart/2005/8/layout/bProcess3"/>
    <dgm:cxn modelId="{27458E31-69FC-4CC0-8540-8B6001157D40}" type="presOf" srcId="{9D156905-9755-4FBA-8F1C-1257B08B4E53}" destId="{A5BDCCC4-06EE-4145-9C06-ABB192D636D0}" srcOrd="0" destOrd="0" presId="urn:microsoft.com/office/officeart/2005/8/layout/bProcess3"/>
    <dgm:cxn modelId="{035C80BB-3E3F-4790-803A-120471065302}" srcId="{DBC0FD0C-C0B2-4FF4-92FA-D5E6B47ED479}" destId="{55BD060D-54EE-4DFB-9252-2D6467D97A3D}" srcOrd="2" destOrd="0" parTransId="{084C9116-9713-4293-9409-6F20EA24664A}" sibTransId="{4C567DB2-5EFB-47CD-A50D-D0F1F4D52F12}"/>
    <dgm:cxn modelId="{5D695BD4-023F-46E6-8FB6-5DA91A4F6BA6}" srcId="{DBC0FD0C-C0B2-4FF4-92FA-D5E6B47ED479}" destId="{45D3AEF5-5CE1-442C-A9B3-293281DA77F4}" srcOrd="1" destOrd="0" parTransId="{1C7573AE-0337-4B79-9AE1-15A5D4AC0482}" sibTransId="{3AFB4AF0-4B26-49A6-ADE9-98B217DE15F3}"/>
    <dgm:cxn modelId="{B9013178-4C4E-4535-9B76-D4DFFEC2E818}" srcId="{DBC0FD0C-C0B2-4FF4-92FA-D5E6B47ED479}" destId="{DE0CD98B-0B3F-4A0E-A038-F889904A0CB7}" srcOrd="5" destOrd="0" parTransId="{5023AD50-8A27-451C-9564-AA370D40B714}" sibTransId="{A5576015-E852-4E8A-A04E-D41061F9EE92}"/>
    <dgm:cxn modelId="{3540E0D2-5464-4924-B396-97296BA15BB4}" type="presOf" srcId="{FC2AEB55-2810-4CA3-B5BA-E65D0BC280CD}" destId="{F4ED081F-C54B-4B3D-86B2-0AE2C1C204B2}" srcOrd="1" destOrd="0" presId="urn:microsoft.com/office/officeart/2005/8/layout/bProcess3"/>
    <dgm:cxn modelId="{AF570B62-8C65-4392-B9C8-E4CCE6F4828B}" srcId="{DBC0FD0C-C0B2-4FF4-92FA-D5E6B47ED479}" destId="{74797182-10E6-4251-A6EC-1B95FB8C8C77}" srcOrd="0" destOrd="0" parTransId="{55C7AFE4-6C12-451D-BEF7-C19D697988DC}" sibTransId="{FC2AEB55-2810-4CA3-B5BA-E65D0BC280CD}"/>
    <dgm:cxn modelId="{8B0C9834-1A46-4FF1-9238-938195FB2BCD}" type="presOf" srcId="{55BD060D-54EE-4DFB-9252-2D6467D97A3D}" destId="{9D8741B3-BCE8-434E-9BE1-4407EC37853B}" srcOrd="0" destOrd="0" presId="urn:microsoft.com/office/officeart/2005/8/layout/bProcess3"/>
    <dgm:cxn modelId="{7C2B220A-B616-4EB0-A202-F27523303F04}" type="presOf" srcId="{E5CB8906-6EF6-4F0C-9AF2-F04AA001B1F3}" destId="{3A7A1F28-F1BD-4B06-A628-5809BB0E51C1}" srcOrd="0" destOrd="0" presId="urn:microsoft.com/office/officeart/2005/8/layout/bProcess3"/>
    <dgm:cxn modelId="{A67D69F0-0657-4802-B61B-DF3B9F92E421}" type="presOf" srcId="{4C567DB2-5EFB-47CD-A50D-D0F1F4D52F12}" destId="{C29C5037-ACF2-44B3-8322-9F57A051171D}" srcOrd="0" destOrd="0" presId="urn:microsoft.com/office/officeart/2005/8/layout/bProcess3"/>
    <dgm:cxn modelId="{13708BB1-5C86-4FA8-BF5E-7C32714DBA12}" type="presOf" srcId="{74797182-10E6-4251-A6EC-1B95FB8C8C77}" destId="{58746E0E-21EC-401B-B4DB-936E9888AE2F}" srcOrd="0" destOrd="0" presId="urn:microsoft.com/office/officeart/2005/8/layout/bProcess3"/>
    <dgm:cxn modelId="{F8FA7E24-7C12-4DD9-9C32-D788D22165F1}" srcId="{DBC0FD0C-C0B2-4FF4-92FA-D5E6B47ED479}" destId="{A7484743-03BF-4B5A-AEE2-4F7C0D85AC2A}" srcOrd="4" destOrd="0" parTransId="{703BA63E-130A-414C-A3B5-1FA7C80E69CD}" sibTransId="{8891E561-3A98-4754-BD1E-C1D6ECAA43EA}"/>
    <dgm:cxn modelId="{68ED03CF-2A07-4A64-80EE-B350E5B12F28}" type="presParOf" srcId="{83DD43C2-0093-408A-AE51-2A1A338F5B01}" destId="{58746E0E-21EC-401B-B4DB-936E9888AE2F}" srcOrd="0" destOrd="0" presId="urn:microsoft.com/office/officeart/2005/8/layout/bProcess3"/>
    <dgm:cxn modelId="{EFDE7BB1-9761-453D-9B8A-84C1080BA98A}" type="presParOf" srcId="{83DD43C2-0093-408A-AE51-2A1A338F5B01}" destId="{0A4A8161-D5FB-470F-86B0-0D804FA4D867}" srcOrd="1" destOrd="0" presId="urn:microsoft.com/office/officeart/2005/8/layout/bProcess3"/>
    <dgm:cxn modelId="{A89D60E4-F0C8-4AEB-ADB6-90C7F59CB0D6}" type="presParOf" srcId="{0A4A8161-D5FB-470F-86B0-0D804FA4D867}" destId="{F4ED081F-C54B-4B3D-86B2-0AE2C1C204B2}" srcOrd="0" destOrd="0" presId="urn:microsoft.com/office/officeart/2005/8/layout/bProcess3"/>
    <dgm:cxn modelId="{0C1824A7-63C3-49FB-B6E7-EA0200B6443A}" type="presParOf" srcId="{83DD43C2-0093-408A-AE51-2A1A338F5B01}" destId="{26D8D6AE-0FED-4F05-BB37-F17BB449B9B5}" srcOrd="2" destOrd="0" presId="urn:microsoft.com/office/officeart/2005/8/layout/bProcess3"/>
    <dgm:cxn modelId="{13AF2C7D-F26C-4900-BEE4-582E289E97F9}" type="presParOf" srcId="{83DD43C2-0093-408A-AE51-2A1A338F5B01}" destId="{AF534F15-7B52-48CF-8962-0D13259DA696}" srcOrd="3" destOrd="0" presId="urn:microsoft.com/office/officeart/2005/8/layout/bProcess3"/>
    <dgm:cxn modelId="{6FF6CDA9-4AF0-4439-BDEF-56B1661B47D1}" type="presParOf" srcId="{AF534F15-7B52-48CF-8962-0D13259DA696}" destId="{AB6B0B7D-3E1B-4DD2-80FA-339CC08AFC4D}" srcOrd="0" destOrd="0" presId="urn:microsoft.com/office/officeart/2005/8/layout/bProcess3"/>
    <dgm:cxn modelId="{C1A0A6D5-D698-4954-86C0-637A93A4C004}" type="presParOf" srcId="{83DD43C2-0093-408A-AE51-2A1A338F5B01}" destId="{9D8741B3-BCE8-434E-9BE1-4407EC37853B}" srcOrd="4" destOrd="0" presId="urn:microsoft.com/office/officeart/2005/8/layout/bProcess3"/>
    <dgm:cxn modelId="{92D2FF67-430E-4387-BBD5-242D93D14834}" type="presParOf" srcId="{83DD43C2-0093-408A-AE51-2A1A338F5B01}" destId="{C29C5037-ACF2-44B3-8322-9F57A051171D}" srcOrd="5" destOrd="0" presId="urn:microsoft.com/office/officeart/2005/8/layout/bProcess3"/>
    <dgm:cxn modelId="{EAAD3462-5D96-40C0-ACA0-B16640874F10}" type="presParOf" srcId="{C29C5037-ACF2-44B3-8322-9F57A051171D}" destId="{1E38A393-35B9-4B01-94C2-3CFE38A43701}" srcOrd="0" destOrd="0" presId="urn:microsoft.com/office/officeart/2005/8/layout/bProcess3"/>
    <dgm:cxn modelId="{0355D883-E185-46FA-A389-983DAEBF35AF}" type="presParOf" srcId="{83DD43C2-0093-408A-AE51-2A1A338F5B01}" destId="{3A7A1F28-F1BD-4B06-A628-5809BB0E51C1}" srcOrd="6" destOrd="0" presId="urn:microsoft.com/office/officeart/2005/8/layout/bProcess3"/>
    <dgm:cxn modelId="{2190B418-9FF2-44EB-8BC2-4136A0402870}" type="presParOf" srcId="{83DD43C2-0093-408A-AE51-2A1A338F5B01}" destId="{A5BDCCC4-06EE-4145-9C06-ABB192D636D0}" srcOrd="7" destOrd="0" presId="urn:microsoft.com/office/officeart/2005/8/layout/bProcess3"/>
    <dgm:cxn modelId="{AD368696-4FF3-45D8-8D1C-F321932A2F7E}" type="presParOf" srcId="{A5BDCCC4-06EE-4145-9C06-ABB192D636D0}" destId="{87D1A273-5E65-4727-8D1C-CDACE5834E1C}" srcOrd="0" destOrd="0" presId="urn:microsoft.com/office/officeart/2005/8/layout/bProcess3"/>
    <dgm:cxn modelId="{087BC415-9FD3-4ABD-A504-32FD899DD487}" type="presParOf" srcId="{83DD43C2-0093-408A-AE51-2A1A338F5B01}" destId="{6B5AE62D-DB6C-4123-B436-CEF7CFF651D4}" srcOrd="8" destOrd="0" presId="urn:microsoft.com/office/officeart/2005/8/layout/bProcess3"/>
    <dgm:cxn modelId="{6B9A3083-7CE3-49E7-BD53-9E7B93BC3608}" type="presParOf" srcId="{83DD43C2-0093-408A-AE51-2A1A338F5B01}" destId="{AA5A5861-2BB6-42AE-A91A-23F2A0E2D586}" srcOrd="9" destOrd="0" presId="urn:microsoft.com/office/officeart/2005/8/layout/bProcess3"/>
    <dgm:cxn modelId="{DD2642EF-6B02-4248-818F-6F51BF71E998}" type="presParOf" srcId="{AA5A5861-2BB6-42AE-A91A-23F2A0E2D586}" destId="{35D1C184-88DD-4CB8-9DEA-CE285993196C}" srcOrd="0" destOrd="0" presId="urn:microsoft.com/office/officeart/2005/8/layout/bProcess3"/>
    <dgm:cxn modelId="{7E9FC889-77B1-43EA-854B-2C7865189350}" type="presParOf" srcId="{83DD43C2-0093-408A-AE51-2A1A338F5B01}" destId="{C58005B6-AB89-4E96-8377-FFAABEE7F7F9}" srcOrd="10" destOrd="0" presId="urn:microsoft.com/office/officeart/2005/8/layout/bProcess3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A8D3C81E-0374-418F-A083-2578C50EA0BA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E0335A1-A969-4F9E-BA83-EC2C943943CF}">
      <dgm:prSet/>
      <dgm:spPr/>
      <dgm:t>
        <a:bodyPr/>
        <a:lstStyle/>
        <a:p>
          <a:r>
            <a:rPr lang="ru-RU"/>
            <a:t>5 занятий с 15 по 22 сентября</a:t>
          </a:r>
        </a:p>
      </dgm:t>
    </dgm:pt>
    <dgm:pt modelId="{91E563C0-6097-472B-8A8F-B8D022E02148}" type="parTrans" cxnId="{CC3E2544-8C38-4D14-A266-DF8EC99E74CD}">
      <dgm:prSet/>
      <dgm:spPr/>
      <dgm:t>
        <a:bodyPr/>
        <a:lstStyle/>
        <a:p>
          <a:endParaRPr lang="ru-RU"/>
        </a:p>
      </dgm:t>
    </dgm:pt>
    <dgm:pt modelId="{83326C15-46CD-47D1-A0E2-657871962EB1}" type="sibTrans" cxnId="{CC3E2544-8C38-4D14-A266-DF8EC99E74CD}">
      <dgm:prSet/>
      <dgm:spPr/>
      <dgm:t>
        <a:bodyPr/>
        <a:lstStyle/>
        <a:p>
          <a:endParaRPr lang="ru-RU"/>
        </a:p>
      </dgm:t>
    </dgm:pt>
    <dgm:pt modelId="{812D8306-50F7-4C49-B520-F8EE99120BC9}">
      <dgm:prSet/>
      <dgm:spPr/>
      <dgm:t>
        <a:bodyPr/>
        <a:lstStyle/>
        <a:p>
          <a:r>
            <a:rPr lang="ru-RU"/>
            <a:t>Пробные занятия по математике / физике / химии</a:t>
          </a:r>
        </a:p>
      </dgm:t>
    </dgm:pt>
    <dgm:pt modelId="{D4298002-0CE7-4128-9523-F669C292107A}" type="parTrans" cxnId="{76142726-0C35-4712-9563-B0BE2AAE76A2}">
      <dgm:prSet/>
      <dgm:spPr/>
      <dgm:t>
        <a:bodyPr/>
        <a:lstStyle/>
        <a:p>
          <a:endParaRPr lang="ru-RU"/>
        </a:p>
      </dgm:t>
    </dgm:pt>
    <dgm:pt modelId="{9D827BFC-F6F4-4474-BC19-F01FA2D76F1A}" type="sibTrans" cxnId="{76142726-0C35-4712-9563-B0BE2AAE76A2}">
      <dgm:prSet/>
      <dgm:spPr/>
      <dgm:t>
        <a:bodyPr/>
        <a:lstStyle/>
        <a:p>
          <a:endParaRPr lang="ru-RU"/>
        </a:p>
      </dgm:t>
    </dgm:pt>
    <dgm:pt modelId="{9B8A41B4-31AA-4C88-B418-20EE050A32BE}">
      <dgm:prSet/>
      <dgm:spPr/>
      <dgm:t>
        <a:bodyPr/>
        <a:lstStyle/>
        <a:p>
          <a:r>
            <a:rPr lang="ru-RU"/>
            <a:t>Игровое мотивационное занятие</a:t>
          </a:r>
        </a:p>
      </dgm:t>
    </dgm:pt>
    <dgm:pt modelId="{70FA4B3D-2E4A-44C2-93DE-59FB366A5AAA}" type="parTrans" cxnId="{B5C4883C-BBD9-4891-9A9C-6ED14AEFAAC1}">
      <dgm:prSet/>
      <dgm:spPr/>
      <dgm:t>
        <a:bodyPr/>
        <a:lstStyle/>
        <a:p>
          <a:endParaRPr lang="ru-RU"/>
        </a:p>
      </dgm:t>
    </dgm:pt>
    <dgm:pt modelId="{92B1874A-0D7A-4BB0-B4EB-9002FA25CA6E}" type="sibTrans" cxnId="{B5C4883C-BBD9-4891-9A9C-6ED14AEFAAC1}">
      <dgm:prSet/>
      <dgm:spPr/>
      <dgm:t>
        <a:bodyPr/>
        <a:lstStyle/>
        <a:p>
          <a:endParaRPr lang="ru-RU"/>
        </a:p>
      </dgm:t>
    </dgm:pt>
    <dgm:pt modelId="{852BEA92-5700-440B-B361-3544F2655D83}">
      <dgm:prSet/>
      <dgm:spPr/>
      <dgm:t>
        <a:bodyPr/>
        <a:lstStyle/>
        <a:p>
          <a:r>
            <a:rPr lang="ru-RU"/>
            <a:t>Организационное собрание по вопросам конкурсного отбора</a:t>
          </a:r>
        </a:p>
      </dgm:t>
    </dgm:pt>
    <dgm:pt modelId="{9A21B9C4-2A08-49F1-855C-FF88F9BD0802}" type="parTrans" cxnId="{2B306E51-6B0B-457C-BFDD-94813DFA3795}">
      <dgm:prSet/>
      <dgm:spPr/>
      <dgm:t>
        <a:bodyPr/>
        <a:lstStyle/>
        <a:p>
          <a:endParaRPr lang="ru-RU"/>
        </a:p>
      </dgm:t>
    </dgm:pt>
    <dgm:pt modelId="{F8B7BA1B-199A-4F8F-8C5F-2FA80E5E5702}" type="sibTrans" cxnId="{2B306E51-6B0B-457C-BFDD-94813DFA3795}">
      <dgm:prSet/>
      <dgm:spPr/>
      <dgm:t>
        <a:bodyPr/>
        <a:lstStyle/>
        <a:p>
          <a:endParaRPr lang="ru-RU"/>
        </a:p>
      </dgm:t>
    </dgm:pt>
    <dgm:pt modelId="{C23473B2-80CF-45FA-88BD-D32582DF1797}">
      <dgm:prSet/>
      <dgm:spPr/>
      <dgm:t>
        <a:bodyPr/>
        <a:lstStyle/>
        <a:p>
          <a:r>
            <a:rPr lang="ru-RU" dirty="0"/>
            <a:t>Посещение добровольное</a:t>
          </a:r>
        </a:p>
      </dgm:t>
    </dgm:pt>
    <dgm:pt modelId="{98BF78AD-A465-4344-B1A8-4ED7F7B7DA2E}" type="parTrans" cxnId="{8E0E8B67-7441-4C65-8A68-46CE001DEDAE}">
      <dgm:prSet/>
      <dgm:spPr/>
      <dgm:t>
        <a:bodyPr/>
        <a:lstStyle/>
        <a:p>
          <a:endParaRPr lang="ru-RU"/>
        </a:p>
      </dgm:t>
    </dgm:pt>
    <dgm:pt modelId="{BAC93251-4300-4E29-BAD6-7AD5687B30B1}" type="sibTrans" cxnId="{8E0E8B67-7441-4C65-8A68-46CE001DEDAE}">
      <dgm:prSet/>
      <dgm:spPr/>
      <dgm:t>
        <a:bodyPr/>
        <a:lstStyle/>
        <a:p>
          <a:endParaRPr lang="ru-RU"/>
        </a:p>
      </dgm:t>
    </dgm:pt>
    <dgm:pt modelId="{66D93C18-A345-4F46-8A1E-66459DDF91C8}">
      <dgm:prSet/>
      <dgm:spPr/>
      <dgm:t>
        <a:bodyPr/>
        <a:lstStyle/>
        <a:p>
          <a:r>
            <a:rPr lang="ru-RU"/>
            <a:t>Курс проводится на цифровой платформе, для участия требуется регистрация</a:t>
          </a:r>
        </a:p>
      </dgm:t>
    </dgm:pt>
    <dgm:pt modelId="{458AD33D-FA2A-47EB-8F62-89FDB1FE7D6C}" type="parTrans" cxnId="{E29B3238-9E60-42B2-A653-B6CDF3C9CC6E}">
      <dgm:prSet/>
      <dgm:spPr/>
      <dgm:t>
        <a:bodyPr/>
        <a:lstStyle/>
        <a:p>
          <a:endParaRPr lang="ru-RU"/>
        </a:p>
      </dgm:t>
    </dgm:pt>
    <dgm:pt modelId="{6EAF89D5-ACDF-45B9-AFE2-FC833590A5AB}" type="sibTrans" cxnId="{E29B3238-9E60-42B2-A653-B6CDF3C9CC6E}">
      <dgm:prSet/>
      <dgm:spPr/>
      <dgm:t>
        <a:bodyPr/>
        <a:lstStyle/>
        <a:p>
          <a:endParaRPr lang="ru-RU"/>
        </a:p>
      </dgm:t>
    </dgm:pt>
    <dgm:pt modelId="{B0634E91-750F-4211-B5F1-6FF8AA0B75AB}">
      <dgm:prSet/>
      <dgm:spPr/>
      <dgm:t>
        <a:bodyPr/>
        <a:lstStyle/>
        <a:p>
          <a:r>
            <a:rPr lang="ru-RU"/>
            <a:t>Продолжительность каждого занятия – 1,5 часа</a:t>
          </a:r>
        </a:p>
      </dgm:t>
    </dgm:pt>
    <dgm:pt modelId="{FC403028-F18B-42D8-8ED2-00330BE9060E}" type="parTrans" cxnId="{5EBCA0BB-6CC5-4B8D-8CCA-48670E08BAE6}">
      <dgm:prSet/>
      <dgm:spPr/>
      <dgm:t>
        <a:bodyPr/>
        <a:lstStyle/>
        <a:p>
          <a:endParaRPr lang="ru-RU"/>
        </a:p>
      </dgm:t>
    </dgm:pt>
    <dgm:pt modelId="{8E8D8455-CCC9-482D-8EA5-7B092DD4D12C}" type="sibTrans" cxnId="{5EBCA0BB-6CC5-4B8D-8CCA-48670E08BAE6}">
      <dgm:prSet/>
      <dgm:spPr/>
      <dgm:t>
        <a:bodyPr/>
        <a:lstStyle/>
        <a:p>
          <a:endParaRPr lang="ru-RU"/>
        </a:p>
      </dgm:t>
    </dgm:pt>
    <dgm:pt modelId="{40121309-B85F-4326-83F0-BB4A796C3753}" type="pres">
      <dgm:prSet presAssocID="{A8D3C81E-0374-418F-A083-2578C50EA0B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6022768-5ECB-4301-A317-22BEE1E1AABC}" type="pres">
      <dgm:prSet presAssocID="{8E0335A1-A969-4F9E-BA83-EC2C943943CF}" presName="parentLin" presStyleCnt="0"/>
      <dgm:spPr/>
    </dgm:pt>
    <dgm:pt modelId="{B026136D-6DA2-417F-8995-F9D71A762E35}" type="pres">
      <dgm:prSet presAssocID="{8E0335A1-A969-4F9E-BA83-EC2C943943CF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15309DA7-2C48-489B-B278-64DA4534062E}" type="pres">
      <dgm:prSet presAssocID="{8E0335A1-A969-4F9E-BA83-EC2C943943CF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BE3C7CC-FE83-496F-909A-C377FDC62F81}" type="pres">
      <dgm:prSet presAssocID="{8E0335A1-A969-4F9E-BA83-EC2C943943CF}" presName="negativeSpace" presStyleCnt="0"/>
      <dgm:spPr/>
    </dgm:pt>
    <dgm:pt modelId="{7EB1AF37-6663-40DE-9DE0-4A21C894A496}" type="pres">
      <dgm:prSet presAssocID="{8E0335A1-A969-4F9E-BA83-EC2C943943CF}" presName="childText" presStyleLbl="conFgAcc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78402C-EC04-4072-B22D-721BCFBAC4B6}" type="pres">
      <dgm:prSet presAssocID="{83326C15-46CD-47D1-A0E2-657871962EB1}" presName="spaceBetweenRectangles" presStyleCnt="0"/>
      <dgm:spPr/>
    </dgm:pt>
    <dgm:pt modelId="{87B43913-0594-4FFA-9D62-BB62A1F3388D}" type="pres">
      <dgm:prSet presAssocID="{C23473B2-80CF-45FA-88BD-D32582DF1797}" presName="parentLin" presStyleCnt="0"/>
      <dgm:spPr/>
    </dgm:pt>
    <dgm:pt modelId="{7BFBD370-1B8A-4FB1-8CF5-56880D53DA59}" type="pres">
      <dgm:prSet presAssocID="{C23473B2-80CF-45FA-88BD-D32582DF1797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D209D4C8-96EE-42E0-A728-B707EE2E7E44}" type="pres">
      <dgm:prSet presAssocID="{C23473B2-80CF-45FA-88BD-D32582DF1797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E2806CC-3AAB-43E2-B0A3-F5860207D836}" type="pres">
      <dgm:prSet presAssocID="{C23473B2-80CF-45FA-88BD-D32582DF1797}" presName="negativeSpace" presStyleCnt="0"/>
      <dgm:spPr/>
    </dgm:pt>
    <dgm:pt modelId="{02E6A662-8ED5-4374-8B82-FA5D547AFE42}" type="pres">
      <dgm:prSet presAssocID="{C23473B2-80CF-45FA-88BD-D32582DF1797}" presName="childText" presStyleLbl="conFgAcc1" presStyleIdx="1" presStyleCnt="4">
        <dgm:presLayoutVars>
          <dgm:bulletEnabled val="1"/>
        </dgm:presLayoutVars>
      </dgm:prSet>
      <dgm:spPr/>
    </dgm:pt>
    <dgm:pt modelId="{4D3298B4-6CA5-4CE1-966A-338EBC2B1C2C}" type="pres">
      <dgm:prSet presAssocID="{BAC93251-4300-4E29-BAD6-7AD5687B30B1}" presName="spaceBetweenRectangles" presStyleCnt="0"/>
      <dgm:spPr/>
    </dgm:pt>
    <dgm:pt modelId="{345276D1-54A8-497B-A300-F51C06D83EF4}" type="pres">
      <dgm:prSet presAssocID="{66D93C18-A345-4F46-8A1E-66459DDF91C8}" presName="parentLin" presStyleCnt="0"/>
      <dgm:spPr/>
    </dgm:pt>
    <dgm:pt modelId="{78DF7255-7688-4EED-A2F0-AA531D16FD25}" type="pres">
      <dgm:prSet presAssocID="{66D93C18-A345-4F46-8A1E-66459DDF91C8}" presName="parentLeftMargin" presStyleLbl="node1" presStyleIdx="1" presStyleCnt="4"/>
      <dgm:spPr/>
      <dgm:t>
        <a:bodyPr/>
        <a:lstStyle/>
        <a:p>
          <a:endParaRPr lang="ru-RU"/>
        </a:p>
      </dgm:t>
    </dgm:pt>
    <dgm:pt modelId="{4D615033-94FA-454F-A6A7-32515C3343C2}" type="pres">
      <dgm:prSet presAssocID="{66D93C18-A345-4F46-8A1E-66459DDF91C8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604DB16-D9C0-4B95-9A53-46B1F1541472}" type="pres">
      <dgm:prSet presAssocID="{66D93C18-A345-4F46-8A1E-66459DDF91C8}" presName="negativeSpace" presStyleCnt="0"/>
      <dgm:spPr/>
    </dgm:pt>
    <dgm:pt modelId="{1EE0CFAB-57CF-40C9-AFA4-099A08E839A4}" type="pres">
      <dgm:prSet presAssocID="{66D93C18-A345-4F46-8A1E-66459DDF91C8}" presName="childText" presStyleLbl="conFgAcc1" presStyleIdx="2" presStyleCnt="4">
        <dgm:presLayoutVars>
          <dgm:bulletEnabled val="1"/>
        </dgm:presLayoutVars>
      </dgm:prSet>
      <dgm:spPr/>
    </dgm:pt>
    <dgm:pt modelId="{00CFB33D-CFE4-4E17-84C6-AF35ACB380D9}" type="pres">
      <dgm:prSet presAssocID="{6EAF89D5-ACDF-45B9-AFE2-FC833590A5AB}" presName="spaceBetweenRectangles" presStyleCnt="0"/>
      <dgm:spPr/>
    </dgm:pt>
    <dgm:pt modelId="{54E4A718-079B-49D8-B4D4-88DC517DDD16}" type="pres">
      <dgm:prSet presAssocID="{B0634E91-750F-4211-B5F1-6FF8AA0B75AB}" presName="parentLin" presStyleCnt="0"/>
      <dgm:spPr/>
    </dgm:pt>
    <dgm:pt modelId="{FE05E9C7-88AC-439F-B733-055ABC66C1BA}" type="pres">
      <dgm:prSet presAssocID="{B0634E91-750F-4211-B5F1-6FF8AA0B75AB}" presName="parentLeftMargin" presStyleLbl="node1" presStyleIdx="2" presStyleCnt="4"/>
      <dgm:spPr/>
      <dgm:t>
        <a:bodyPr/>
        <a:lstStyle/>
        <a:p>
          <a:endParaRPr lang="ru-RU"/>
        </a:p>
      </dgm:t>
    </dgm:pt>
    <dgm:pt modelId="{7BB19CD5-A2FE-43DF-ADB5-9E2208DA7E25}" type="pres">
      <dgm:prSet presAssocID="{B0634E91-750F-4211-B5F1-6FF8AA0B75AB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9502D1F-55DD-4C6F-BA8B-404949C38ADB}" type="pres">
      <dgm:prSet presAssocID="{B0634E91-750F-4211-B5F1-6FF8AA0B75AB}" presName="negativeSpace" presStyleCnt="0"/>
      <dgm:spPr/>
    </dgm:pt>
    <dgm:pt modelId="{F6210E16-0482-4C09-A8BF-F24D4A82A0FC}" type="pres">
      <dgm:prSet presAssocID="{B0634E91-750F-4211-B5F1-6FF8AA0B75AB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7BFB5D29-5988-472C-BAA3-133311CE7C4D}" type="presOf" srcId="{A8D3C81E-0374-418F-A083-2578C50EA0BA}" destId="{40121309-B85F-4326-83F0-BB4A796C3753}" srcOrd="0" destOrd="0" presId="urn:microsoft.com/office/officeart/2005/8/layout/list1"/>
    <dgm:cxn modelId="{739F2FD3-C6F4-4B82-B686-A2112CF9A3E2}" type="presOf" srcId="{8E0335A1-A969-4F9E-BA83-EC2C943943CF}" destId="{B026136D-6DA2-417F-8995-F9D71A762E35}" srcOrd="0" destOrd="0" presId="urn:microsoft.com/office/officeart/2005/8/layout/list1"/>
    <dgm:cxn modelId="{60ED2548-DC69-4C5B-919B-39CFC23E397D}" type="presOf" srcId="{852BEA92-5700-440B-B361-3544F2655D83}" destId="{7EB1AF37-6663-40DE-9DE0-4A21C894A496}" srcOrd="0" destOrd="2" presId="urn:microsoft.com/office/officeart/2005/8/layout/list1"/>
    <dgm:cxn modelId="{6CAC7F5D-94DE-4063-82D1-3CABB712B7CA}" type="presOf" srcId="{B0634E91-750F-4211-B5F1-6FF8AA0B75AB}" destId="{FE05E9C7-88AC-439F-B733-055ABC66C1BA}" srcOrd="0" destOrd="0" presId="urn:microsoft.com/office/officeart/2005/8/layout/list1"/>
    <dgm:cxn modelId="{873B25C5-F436-4CB4-9880-BA529E024D1E}" type="presOf" srcId="{812D8306-50F7-4C49-B520-F8EE99120BC9}" destId="{7EB1AF37-6663-40DE-9DE0-4A21C894A496}" srcOrd="0" destOrd="0" presId="urn:microsoft.com/office/officeart/2005/8/layout/list1"/>
    <dgm:cxn modelId="{2B306E51-6B0B-457C-BFDD-94813DFA3795}" srcId="{8E0335A1-A969-4F9E-BA83-EC2C943943CF}" destId="{852BEA92-5700-440B-B361-3544F2655D83}" srcOrd="2" destOrd="0" parTransId="{9A21B9C4-2A08-49F1-855C-FF88F9BD0802}" sibTransId="{F8B7BA1B-199A-4F8F-8C5F-2FA80E5E5702}"/>
    <dgm:cxn modelId="{BE9C6FE4-571F-47E7-B12B-C05E35C11D18}" type="presOf" srcId="{C23473B2-80CF-45FA-88BD-D32582DF1797}" destId="{D209D4C8-96EE-42E0-A728-B707EE2E7E44}" srcOrd="1" destOrd="0" presId="urn:microsoft.com/office/officeart/2005/8/layout/list1"/>
    <dgm:cxn modelId="{3DBB7F89-F4F6-410D-A29A-5F5A80D70AB1}" type="presOf" srcId="{8E0335A1-A969-4F9E-BA83-EC2C943943CF}" destId="{15309DA7-2C48-489B-B278-64DA4534062E}" srcOrd="1" destOrd="0" presId="urn:microsoft.com/office/officeart/2005/8/layout/list1"/>
    <dgm:cxn modelId="{E29B3238-9E60-42B2-A653-B6CDF3C9CC6E}" srcId="{A8D3C81E-0374-418F-A083-2578C50EA0BA}" destId="{66D93C18-A345-4F46-8A1E-66459DDF91C8}" srcOrd="2" destOrd="0" parTransId="{458AD33D-FA2A-47EB-8F62-89FDB1FE7D6C}" sibTransId="{6EAF89D5-ACDF-45B9-AFE2-FC833590A5AB}"/>
    <dgm:cxn modelId="{593F8002-A3C0-475E-9A68-F9032E0E5144}" type="presOf" srcId="{9B8A41B4-31AA-4C88-B418-20EE050A32BE}" destId="{7EB1AF37-6663-40DE-9DE0-4A21C894A496}" srcOrd="0" destOrd="1" presId="urn:microsoft.com/office/officeart/2005/8/layout/list1"/>
    <dgm:cxn modelId="{E2DE70DC-D4C1-483F-B4DE-74605CB026EC}" type="presOf" srcId="{66D93C18-A345-4F46-8A1E-66459DDF91C8}" destId="{78DF7255-7688-4EED-A2F0-AA531D16FD25}" srcOrd="0" destOrd="0" presId="urn:microsoft.com/office/officeart/2005/8/layout/list1"/>
    <dgm:cxn modelId="{0E4AC971-CF7D-4B3A-A187-7A536B476AEA}" type="presOf" srcId="{C23473B2-80CF-45FA-88BD-D32582DF1797}" destId="{7BFBD370-1B8A-4FB1-8CF5-56880D53DA59}" srcOrd="0" destOrd="0" presId="urn:microsoft.com/office/officeart/2005/8/layout/list1"/>
    <dgm:cxn modelId="{B5C4883C-BBD9-4891-9A9C-6ED14AEFAAC1}" srcId="{8E0335A1-A969-4F9E-BA83-EC2C943943CF}" destId="{9B8A41B4-31AA-4C88-B418-20EE050A32BE}" srcOrd="1" destOrd="0" parTransId="{70FA4B3D-2E4A-44C2-93DE-59FB366A5AAA}" sibTransId="{92B1874A-0D7A-4BB0-B4EB-9002FA25CA6E}"/>
    <dgm:cxn modelId="{CC3E2544-8C38-4D14-A266-DF8EC99E74CD}" srcId="{A8D3C81E-0374-418F-A083-2578C50EA0BA}" destId="{8E0335A1-A969-4F9E-BA83-EC2C943943CF}" srcOrd="0" destOrd="0" parTransId="{91E563C0-6097-472B-8A8F-B8D022E02148}" sibTransId="{83326C15-46CD-47D1-A0E2-657871962EB1}"/>
    <dgm:cxn modelId="{8E0E8B67-7441-4C65-8A68-46CE001DEDAE}" srcId="{A8D3C81E-0374-418F-A083-2578C50EA0BA}" destId="{C23473B2-80CF-45FA-88BD-D32582DF1797}" srcOrd="1" destOrd="0" parTransId="{98BF78AD-A465-4344-B1A8-4ED7F7B7DA2E}" sibTransId="{BAC93251-4300-4E29-BAD6-7AD5687B30B1}"/>
    <dgm:cxn modelId="{CB498F14-2081-4983-B22E-AB09B7B9309D}" type="presOf" srcId="{B0634E91-750F-4211-B5F1-6FF8AA0B75AB}" destId="{7BB19CD5-A2FE-43DF-ADB5-9E2208DA7E25}" srcOrd="1" destOrd="0" presId="urn:microsoft.com/office/officeart/2005/8/layout/list1"/>
    <dgm:cxn modelId="{3DC809D8-92D1-4F83-9FDF-861991FCB2BE}" type="presOf" srcId="{66D93C18-A345-4F46-8A1E-66459DDF91C8}" destId="{4D615033-94FA-454F-A6A7-32515C3343C2}" srcOrd="1" destOrd="0" presId="urn:microsoft.com/office/officeart/2005/8/layout/list1"/>
    <dgm:cxn modelId="{5EBCA0BB-6CC5-4B8D-8CCA-48670E08BAE6}" srcId="{A8D3C81E-0374-418F-A083-2578C50EA0BA}" destId="{B0634E91-750F-4211-B5F1-6FF8AA0B75AB}" srcOrd="3" destOrd="0" parTransId="{FC403028-F18B-42D8-8ED2-00330BE9060E}" sibTransId="{8E8D8455-CCC9-482D-8EA5-7B092DD4D12C}"/>
    <dgm:cxn modelId="{76142726-0C35-4712-9563-B0BE2AAE76A2}" srcId="{8E0335A1-A969-4F9E-BA83-EC2C943943CF}" destId="{812D8306-50F7-4C49-B520-F8EE99120BC9}" srcOrd="0" destOrd="0" parTransId="{D4298002-0CE7-4128-9523-F669C292107A}" sibTransId="{9D827BFC-F6F4-4474-BC19-F01FA2D76F1A}"/>
    <dgm:cxn modelId="{1FE47806-4D26-4EA1-B5A2-66FF3592BD36}" type="presParOf" srcId="{40121309-B85F-4326-83F0-BB4A796C3753}" destId="{46022768-5ECB-4301-A317-22BEE1E1AABC}" srcOrd="0" destOrd="0" presId="urn:microsoft.com/office/officeart/2005/8/layout/list1"/>
    <dgm:cxn modelId="{7882442B-44E8-46E1-B767-6601EF1932F4}" type="presParOf" srcId="{46022768-5ECB-4301-A317-22BEE1E1AABC}" destId="{B026136D-6DA2-417F-8995-F9D71A762E35}" srcOrd="0" destOrd="0" presId="urn:microsoft.com/office/officeart/2005/8/layout/list1"/>
    <dgm:cxn modelId="{CB922E28-1614-43B9-AADB-2C1D42A5A505}" type="presParOf" srcId="{46022768-5ECB-4301-A317-22BEE1E1AABC}" destId="{15309DA7-2C48-489B-B278-64DA4534062E}" srcOrd="1" destOrd="0" presId="urn:microsoft.com/office/officeart/2005/8/layout/list1"/>
    <dgm:cxn modelId="{59940D2C-EC19-4D9E-81D7-2651D13E9D72}" type="presParOf" srcId="{40121309-B85F-4326-83F0-BB4A796C3753}" destId="{FBE3C7CC-FE83-496F-909A-C377FDC62F81}" srcOrd="1" destOrd="0" presId="urn:microsoft.com/office/officeart/2005/8/layout/list1"/>
    <dgm:cxn modelId="{7ACB80C4-D8AC-4EA8-BCE0-B582545BB4B5}" type="presParOf" srcId="{40121309-B85F-4326-83F0-BB4A796C3753}" destId="{7EB1AF37-6663-40DE-9DE0-4A21C894A496}" srcOrd="2" destOrd="0" presId="urn:microsoft.com/office/officeart/2005/8/layout/list1"/>
    <dgm:cxn modelId="{0C84BAD1-C741-46BC-B35E-63DF8EED5ED2}" type="presParOf" srcId="{40121309-B85F-4326-83F0-BB4A796C3753}" destId="{2C78402C-EC04-4072-B22D-721BCFBAC4B6}" srcOrd="3" destOrd="0" presId="urn:microsoft.com/office/officeart/2005/8/layout/list1"/>
    <dgm:cxn modelId="{0115B193-4767-4513-900E-BA75D3661B2C}" type="presParOf" srcId="{40121309-B85F-4326-83F0-BB4A796C3753}" destId="{87B43913-0594-4FFA-9D62-BB62A1F3388D}" srcOrd="4" destOrd="0" presId="urn:microsoft.com/office/officeart/2005/8/layout/list1"/>
    <dgm:cxn modelId="{AA2098C5-17AC-492E-9967-A99D241AA2C5}" type="presParOf" srcId="{87B43913-0594-4FFA-9D62-BB62A1F3388D}" destId="{7BFBD370-1B8A-4FB1-8CF5-56880D53DA59}" srcOrd="0" destOrd="0" presId="urn:microsoft.com/office/officeart/2005/8/layout/list1"/>
    <dgm:cxn modelId="{EF580C4B-0620-4C48-A494-F48B05C968B2}" type="presParOf" srcId="{87B43913-0594-4FFA-9D62-BB62A1F3388D}" destId="{D209D4C8-96EE-42E0-A728-B707EE2E7E44}" srcOrd="1" destOrd="0" presId="urn:microsoft.com/office/officeart/2005/8/layout/list1"/>
    <dgm:cxn modelId="{429F8E64-C0C9-43B4-9671-4D605EF691A5}" type="presParOf" srcId="{40121309-B85F-4326-83F0-BB4A796C3753}" destId="{7E2806CC-3AAB-43E2-B0A3-F5860207D836}" srcOrd="5" destOrd="0" presId="urn:microsoft.com/office/officeart/2005/8/layout/list1"/>
    <dgm:cxn modelId="{1089A5D0-1A21-47D4-B518-780C7A5A87B1}" type="presParOf" srcId="{40121309-B85F-4326-83F0-BB4A796C3753}" destId="{02E6A662-8ED5-4374-8B82-FA5D547AFE42}" srcOrd="6" destOrd="0" presId="urn:microsoft.com/office/officeart/2005/8/layout/list1"/>
    <dgm:cxn modelId="{B42E4487-B74A-48C0-B7A6-F3741A0FF5D8}" type="presParOf" srcId="{40121309-B85F-4326-83F0-BB4A796C3753}" destId="{4D3298B4-6CA5-4CE1-966A-338EBC2B1C2C}" srcOrd="7" destOrd="0" presId="urn:microsoft.com/office/officeart/2005/8/layout/list1"/>
    <dgm:cxn modelId="{1BD6BD80-22B3-4B2D-AEF8-DD505B5FD07E}" type="presParOf" srcId="{40121309-B85F-4326-83F0-BB4A796C3753}" destId="{345276D1-54A8-497B-A300-F51C06D83EF4}" srcOrd="8" destOrd="0" presId="urn:microsoft.com/office/officeart/2005/8/layout/list1"/>
    <dgm:cxn modelId="{A9276DB8-CE3D-49C1-8431-590F2C9AB2B9}" type="presParOf" srcId="{345276D1-54A8-497B-A300-F51C06D83EF4}" destId="{78DF7255-7688-4EED-A2F0-AA531D16FD25}" srcOrd="0" destOrd="0" presId="urn:microsoft.com/office/officeart/2005/8/layout/list1"/>
    <dgm:cxn modelId="{44FC689F-FB74-475C-B945-6D7E5A4A8DEA}" type="presParOf" srcId="{345276D1-54A8-497B-A300-F51C06D83EF4}" destId="{4D615033-94FA-454F-A6A7-32515C3343C2}" srcOrd="1" destOrd="0" presId="urn:microsoft.com/office/officeart/2005/8/layout/list1"/>
    <dgm:cxn modelId="{B7335951-9A0D-4F39-9AED-58206E8B76E0}" type="presParOf" srcId="{40121309-B85F-4326-83F0-BB4A796C3753}" destId="{9604DB16-D9C0-4B95-9A53-46B1F1541472}" srcOrd="9" destOrd="0" presId="urn:microsoft.com/office/officeart/2005/8/layout/list1"/>
    <dgm:cxn modelId="{788966C0-6FA8-45C0-B34F-154AE756263D}" type="presParOf" srcId="{40121309-B85F-4326-83F0-BB4A796C3753}" destId="{1EE0CFAB-57CF-40C9-AFA4-099A08E839A4}" srcOrd="10" destOrd="0" presId="urn:microsoft.com/office/officeart/2005/8/layout/list1"/>
    <dgm:cxn modelId="{7C844AD2-9A17-4FCD-833F-945C1AFB340B}" type="presParOf" srcId="{40121309-B85F-4326-83F0-BB4A796C3753}" destId="{00CFB33D-CFE4-4E17-84C6-AF35ACB380D9}" srcOrd="11" destOrd="0" presId="urn:microsoft.com/office/officeart/2005/8/layout/list1"/>
    <dgm:cxn modelId="{FC122383-237E-4647-946C-0F323566AA3F}" type="presParOf" srcId="{40121309-B85F-4326-83F0-BB4A796C3753}" destId="{54E4A718-079B-49D8-B4D4-88DC517DDD16}" srcOrd="12" destOrd="0" presId="urn:microsoft.com/office/officeart/2005/8/layout/list1"/>
    <dgm:cxn modelId="{2DED09D0-E9E3-42D1-BB48-B8E1A2F26061}" type="presParOf" srcId="{54E4A718-079B-49D8-B4D4-88DC517DDD16}" destId="{FE05E9C7-88AC-439F-B733-055ABC66C1BA}" srcOrd="0" destOrd="0" presId="urn:microsoft.com/office/officeart/2005/8/layout/list1"/>
    <dgm:cxn modelId="{9CACB9FA-B9D9-4E76-91C9-B58CF0678645}" type="presParOf" srcId="{54E4A718-079B-49D8-B4D4-88DC517DDD16}" destId="{7BB19CD5-A2FE-43DF-ADB5-9E2208DA7E25}" srcOrd="1" destOrd="0" presId="urn:microsoft.com/office/officeart/2005/8/layout/list1"/>
    <dgm:cxn modelId="{00032F4A-B721-473D-8A13-5C3B71CB62E7}" type="presParOf" srcId="{40121309-B85F-4326-83F0-BB4A796C3753}" destId="{29502D1F-55DD-4C6F-BA8B-404949C38ADB}" srcOrd="13" destOrd="0" presId="urn:microsoft.com/office/officeart/2005/8/layout/list1"/>
    <dgm:cxn modelId="{7625A186-5E4E-4BAC-B9AB-B233C8E9C8BC}" type="presParOf" srcId="{40121309-B85F-4326-83F0-BB4A796C3753}" destId="{F6210E16-0482-4C09-A8BF-F24D4A82A0FC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A8D3C81E-0374-418F-A083-2578C50EA0BA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E0335A1-A969-4F9E-BA83-EC2C943943CF}">
      <dgm:prSet/>
      <dgm:spPr/>
      <dgm:t>
        <a:bodyPr/>
        <a:lstStyle/>
        <a:p>
          <a:r>
            <a:rPr lang="ru-RU" dirty="0"/>
            <a:t>Период проведения - с 10.00 23 сентября по 20.00 24 сентября (московское время)</a:t>
          </a:r>
        </a:p>
      </dgm:t>
    </dgm:pt>
    <dgm:pt modelId="{91E563C0-6097-472B-8A8F-B8D022E02148}" type="parTrans" cxnId="{CC3E2544-8C38-4D14-A266-DF8EC99E74CD}">
      <dgm:prSet/>
      <dgm:spPr/>
      <dgm:t>
        <a:bodyPr/>
        <a:lstStyle/>
        <a:p>
          <a:endParaRPr lang="ru-RU"/>
        </a:p>
      </dgm:t>
    </dgm:pt>
    <dgm:pt modelId="{83326C15-46CD-47D1-A0E2-657871962EB1}" type="sibTrans" cxnId="{CC3E2544-8C38-4D14-A266-DF8EC99E74CD}">
      <dgm:prSet/>
      <dgm:spPr/>
      <dgm:t>
        <a:bodyPr/>
        <a:lstStyle/>
        <a:p>
          <a:endParaRPr lang="ru-RU"/>
        </a:p>
      </dgm:t>
    </dgm:pt>
    <dgm:pt modelId="{812D8306-50F7-4C49-B520-F8EE99120BC9}">
      <dgm:prSet/>
      <dgm:spPr/>
      <dgm:t>
        <a:bodyPr/>
        <a:lstStyle/>
        <a:p>
          <a:r>
            <a:rPr lang="ru-RU" dirty="0"/>
            <a:t>Математика (11 заданий)</a:t>
          </a:r>
        </a:p>
      </dgm:t>
    </dgm:pt>
    <dgm:pt modelId="{D4298002-0CE7-4128-9523-F669C292107A}" type="parTrans" cxnId="{76142726-0C35-4712-9563-B0BE2AAE76A2}">
      <dgm:prSet/>
      <dgm:spPr/>
      <dgm:t>
        <a:bodyPr/>
        <a:lstStyle/>
        <a:p>
          <a:endParaRPr lang="ru-RU"/>
        </a:p>
      </dgm:t>
    </dgm:pt>
    <dgm:pt modelId="{9D827BFC-F6F4-4474-BC19-F01FA2D76F1A}" type="sibTrans" cxnId="{76142726-0C35-4712-9563-B0BE2AAE76A2}">
      <dgm:prSet/>
      <dgm:spPr/>
      <dgm:t>
        <a:bodyPr/>
        <a:lstStyle/>
        <a:p>
          <a:endParaRPr lang="ru-RU"/>
        </a:p>
      </dgm:t>
    </dgm:pt>
    <dgm:pt modelId="{9B8A41B4-31AA-4C88-B418-20EE050A32BE}">
      <dgm:prSet/>
      <dgm:spPr/>
      <dgm:t>
        <a:bodyPr/>
        <a:lstStyle/>
        <a:p>
          <a:r>
            <a:rPr lang="ru-RU" dirty="0"/>
            <a:t>Физика (11 заданий)</a:t>
          </a:r>
        </a:p>
      </dgm:t>
    </dgm:pt>
    <dgm:pt modelId="{70FA4B3D-2E4A-44C2-93DE-59FB366A5AAA}" type="parTrans" cxnId="{B5C4883C-BBD9-4891-9A9C-6ED14AEFAAC1}">
      <dgm:prSet/>
      <dgm:spPr/>
      <dgm:t>
        <a:bodyPr/>
        <a:lstStyle/>
        <a:p>
          <a:endParaRPr lang="ru-RU"/>
        </a:p>
      </dgm:t>
    </dgm:pt>
    <dgm:pt modelId="{92B1874A-0D7A-4BB0-B4EB-9002FA25CA6E}" type="sibTrans" cxnId="{B5C4883C-BBD9-4891-9A9C-6ED14AEFAAC1}">
      <dgm:prSet/>
      <dgm:spPr/>
      <dgm:t>
        <a:bodyPr/>
        <a:lstStyle/>
        <a:p>
          <a:endParaRPr lang="ru-RU"/>
        </a:p>
      </dgm:t>
    </dgm:pt>
    <dgm:pt modelId="{852BEA92-5700-440B-B361-3544F2655D83}">
      <dgm:prSet/>
      <dgm:spPr/>
      <dgm:t>
        <a:bodyPr/>
        <a:lstStyle/>
        <a:p>
          <a:r>
            <a:rPr lang="ru-RU" dirty="0"/>
            <a:t>Уровень – стандартная школьная программа за предыдущий класс (на основе ВПР, ОГЭ)</a:t>
          </a:r>
        </a:p>
      </dgm:t>
    </dgm:pt>
    <dgm:pt modelId="{9A21B9C4-2A08-49F1-855C-FF88F9BD0802}" type="parTrans" cxnId="{2B306E51-6B0B-457C-BFDD-94813DFA3795}">
      <dgm:prSet/>
      <dgm:spPr/>
      <dgm:t>
        <a:bodyPr/>
        <a:lstStyle/>
        <a:p>
          <a:endParaRPr lang="ru-RU"/>
        </a:p>
      </dgm:t>
    </dgm:pt>
    <dgm:pt modelId="{F8B7BA1B-199A-4F8F-8C5F-2FA80E5E5702}" type="sibTrans" cxnId="{2B306E51-6B0B-457C-BFDD-94813DFA3795}">
      <dgm:prSet/>
      <dgm:spPr/>
      <dgm:t>
        <a:bodyPr/>
        <a:lstStyle/>
        <a:p>
          <a:endParaRPr lang="ru-RU"/>
        </a:p>
      </dgm:t>
    </dgm:pt>
    <dgm:pt modelId="{C23473B2-80CF-45FA-88BD-D32582DF1797}">
      <dgm:prSet/>
      <dgm:spPr/>
      <dgm:t>
        <a:bodyPr/>
        <a:lstStyle/>
        <a:p>
          <a:r>
            <a:rPr lang="ru-RU" dirty="0"/>
            <a:t>На прохождение тестирования отводится 6 часов</a:t>
          </a:r>
        </a:p>
      </dgm:t>
    </dgm:pt>
    <dgm:pt modelId="{98BF78AD-A465-4344-B1A8-4ED7F7B7DA2E}" type="parTrans" cxnId="{8E0E8B67-7441-4C65-8A68-46CE001DEDAE}">
      <dgm:prSet/>
      <dgm:spPr/>
      <dgm:t>
        <a:bodyPr/>
        <a:lstStyle/>
        <a:p>
          <a:endParaRPr lang="ru-RU"/>
        </a:p>
      </dgm:t>
    </dgm:pt>
    <dgm:pt modelId="{BAC93251-4300-4E29-BAD6-7AD5687B30B1}" type="sibTrans" cxnId="{8E0E8B67-7441-4C65-8A68-46CE001DEDAE}">
      <dgm:prSet/>
      <dgm:spPr/>
      <dgm:t>
        <a:bodyPr/>
        <a:lstStyle/>
        <a:p>
          <a:endParaRPr lang="ru-RU"/>
        </a:p>
      </dgm:t>
    </dgm:pt>
    <dgm:pt modelId="{66D93C18-A345-4F46-8A1E-66459DDF91C8}">
      <dgm:prSet/>
      <dgm:spPr/>
      <dgm:t>
        <a:bodyPr/>
        <a:lstStyle/>
        <a:p>
          <a:r>
            <a:rPr lang="ru-RU" dirty="0"/>
            <a:t>Публикация результатов в виде рейтинговых списков – не позднее 28 сентября</a:t>
          </a:r>
        </a:p>
      </dgm:t>
    </dgm:pt>
    <dgm:pt modelId="{458AD33D-FA2A-47EB-8F62-89FDB1FE7D6C}" type="parTrans" cxnId="{E29B3238-9E60-42B2-A653-B6CDF3C9CC6E}">
      <dgm:prSet/>
      <dgm:spPr/>
      <dgm:t>
        <a:bodyPr/>
        <a:lstStyle/>
        <a:p>
          <a:endParaRPr lang="ru-RU"/>
        </a:p>
      </dgm:t>
    </dgm:pt>
    <dgm:pt modelId="{6EAF89D5-ACDF-45B9-AFE2-FC833590A5AB}" type="sibTrans" cxnId="{E29B3238-9E60-42B2-A653-B6CDF3C9CC6E}">
      <dgm:prSet/>
      <dgm:spPr/>
      <dgm:t>
        <a:bodyPr/>
        <a:lstStyle/>
        <a:p>
          <a:endParaRPr lang="ru-RU"/>
        </a:p>
      </dgm:t>
    </dgm:pt>
    <dgm:pt modelId="{B0634E91-750F-4211-B5F1-6FF8AA0B75AB}">
      <dgm:prSet/>
      <dgm:spPr/>
      <dgm:t>
        <a:bodyPr/>
        <a:lstStyle/>
        <a:p>
          <a:r>
            <a:rPr lang="ru-RU" dirty="0"/>
            <a:t>К зачислению рекомендуются конкурсанты, набравшие наибольшее количество баллов, с учетом квот по регионам и классам</a:t>
          </a:r>
        </a:p>
      </dgm:t>
    </dgm:pt>
    <dgm:pt modelId="{FC403028-F18B-42D8-8ED2-00330BE9060E}" type="parTrans" cxnId="{5EBCA0BB-6CC5-4B8D-8CCA-48670E08BAE6}">
      <dgm:prSet/>
      <dgm:spPr/>
      <dgm:t>
        <a:bodyPr/>
        <a:lstStyle/>
        <a:p>
          <a:endParaRPr lang="ru-RU"/>
        </a:p>
      </dgm:t>
    </dgm:pt>
    <dgm:pt modelId="{8E8D8455-CCC9-482D-8EA5-7B092DD4D12C}" type="sibTrans" cxnId="{5EBCA0BB-6CC5-4B8D-8CCA-48670E08BAE6}">
      <dgm:prSet/>
      <dgm:spPr/>
      <dgm:t>
        <a:bodyPr/>
        <a:lstStyle/>
        <a:p>
          <a:endParaRPr lang="ru-RU"/>
        </a:p>
      </dgm:t>
    </dgm:pt>
    <dgm:pt modelId="{871E102F-56F8-4D7F-BDC7-77BF6750614A}">
      <dgm:prSet/>
      <dgm:spPr/>
      <dgm:t>
        <a:bodyPr/>
        <a:lstStyle/>
        <a:p>
          <a:r>
            <a:rPr lang="ru-RU" dirty="0"/>
            <a:t>Включает в себя 2 обязательных тестирования в онлайн-формате</a:t>
          </a:r>
        </a:p>
      </dgm:t>
    </dgm:pt>
    <dgm:pt modelId="{20D368DE-88A6-41BF-9916-FAAEC5FDB763}" type="parTrans" cxnId="{2DE92E3A-A825-4DF7-9816-4D7F0446BEBC}">
      <dgm:prSet/>
      <dgm:spPr/>
      <dgm:t>
        <a:bodyPr/>
        <a:lstStyle/>
        <a:p>
          <a:endParaRPr lang="ru-RU"/>
        </a:p>
      </dgm:t>
    </dgm:pt>
    <dgm:pt modelId="{EC5E3C21-25AD-493A-B107-EE6E158B8BED}" type="sibTrans" cxnId="{2DE92E3A-A825-4DF7-9816-4D7F0446BEBC}">
      <dgm:prSet/>
      <dgm:spPr/>
      <dgm:t>
        <a:bodyPr/>
        <a:lstStyle/>
        <a:p>
          <a:endParaRPr lang="ru-RU"/>
        </a:p>
      </dgm:t>
    </dgm:pt>
    <dgm:pt modelId="{E161B6EB-20D3-4EDC-A6D3-B8A70828989B}" type="pres">
      <dgm:prSet presAssocID="{A8D3C81E-0374-418F-A083-2578C50EA0BA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12EFC5A-A64D-4117-9F36-2A7CF9952180}" type="pres">
      <dgm:prSet presAssocID="{8E0335A1-A969-4F9E-BA83-EC2C943943CF}" presName="parentText" presStyleLbl="node1" presStyleIdx="0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C83DB30-C9B4-4FCB-81C0-1A2D8F4DE106}" type="pres">
      <dgm:prSet presAssocID="{83326C15-46CD-47D1-A0E2-657871962EB1}" presName="spacer" presStyleCnt="0"/>
      <dgm:spPr/>
    </dgm:pt>
    <dgm:pt modelId="{76EE87B8-7701-48E6-8FCA-F7D452D5D096}" type="pres">
      <dgm:prSet presAssocID="{871E102F-56F8-4D7F-BDC7-77BF6750614A}" presName="parentText" presStyleLbl="node1" presStyleIdx="1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2D7B5FF-C6BF-4732-925B-836081E66B35}" type="pres">
      <dgm:prSet presAssocID="{871E102F-56F8-4D7F-BDC7-77BF6750614A}" presName="childText" presStyleLbl="revTx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D28E49-F7FA-496B-AE29-2313DF278920}" type="pres">
      <dgm:prSet presAssocID="{C23473B2-80CF-45FA-88BD-D32582DF1797}" presName="parentText" presStyleLbl="node1" presStyleIdx="2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D9DAC1-F8D4-4128-B080-E9E6F86C6EC3}" type="pres">
      <dgm:prSet presAssocID="{BAC93251-4300-4E29-BAD6-7AD5687B30B1}" presName="spacer" presStyleCnt="0"/>
      <dgm:spPr/>
    </dgm:pt>
    <dgm:pt modelId="{2FC238F4-6784-400B-8C3B-138E98C5067D}" type="pres">
      <dgm:prSet presAssocID="{66D93C18-A345-4F46-8A1E-66459DDF91C8}" presName="parentText" presStyleLbl="node1" presStyleIdx="3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15E5F9-7871-4106-86F6-5992D04B8FF5}" type="pres">
      <dgm:prSet presAssocID="{6EAF89D5-ACDF-45B9-AFE2-FC833590A5AB}" presName="spacer" presStyleCnt="0"/>
      <dgm:spPr/>
    </dgm:pt>
    <dgm:pt modelId="{4E8FABC0-4590-4B51-8027-555E8E4489B7}" type="pres">
      <dgm:prSet presAssocID="{B0634E91-750F-4211-B5F1-6FF8AA0B75AB}" presName="parentText" presStyleLbl="node1" presStyleIdx="4" presStyleCnt="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8C522E3-DDE3-40EF-9EB0-2A3446138BD5}" type="presOf" srcId="{812D8306-50F7-4C49-B520-F8EE99120BC9}" destId="{12D7B5FF-C6BF-4732-925B-836081E66B35}" srcOrd="0" destOrd="0" presId="urn:microsoft.com/office/officeart/2005/8/layout/vList2"/>
    <dgm:cxn modelId="{DC103D0C-08F0-4E43-B8C7-BC7AD6BE1493}" type="presOf" srcId="{A8D3C81E-0374-418F-A083-2578C50EA0BA}" destId="{E161B6EB-20D3-4EDC-A6D3-B8A70828989B}" srcOrd="0" destOrd="0" presId="urn:microsoft.com/office/officeart/2005/8/layout/vList2"/>
    <dgm:cxn modelId="{060F2C4D-B4D6-4951-AA3B-07A357E2E41D}" type="presOf" srcId="{8E0335A1-A969-4F9E-BA83-EC2C943943CF}" destId="{512EFC5A-A64D-4117-9F36-2A7CF9952180}" srcOrd="0" destOrd="0" presId="urn:microsoft.com/office/officeart/2005/8/layout/vList2"/>
    <dgm:cxn modelId="{2DE92E3A-A825-4DF7-9816-4D7F0446BEBC}" srcId="{A8D3C81E-0374-418F-A083-2578C50EA0BA}" destId="{871E102F-56F8-4D7F-BDC7-77BF6750614A}" srcOrd="1" destOrd="0" parTransId="{20D368DE-88A6-41BF-9916-FAAEC5FDB763}" sibTransId="{EC5E3C21-25AD-493A-B107-EE6E158B8BED}"/>
    <dgm:cxn modelId="{8E0E8B67-7441-4C65-8A68-46CE001DEDAE}" srcId="{A8D3C81E-0374-418F-A083-2578C50EA0BA}" destId="{C23473B2-80CF-45FA-88BD-D32582DF1797}" srcOrd="2" destOrd="0" parTransId="{98BF78AD-A465-4344-B1A8-4ED7F7B7DA2E}" sibTransId="{BAC93251-4300-4E29-BAD6-7AD5687B30B1}"/>
    <dgm:cxn modelId="{D0F93536-C7CA-4468-BD72-A2809805EBC3}" type="presOf" srcId="{66D93C18-A345-4F46-8A1E-66459DDF91C8}" destId="{2FC238F4-6784-400B-8C3B-138E98C5067D}" srcOrd="0" destOrd="0" presId="urn:microsoft.com/office/officeart/2005/8/layout/vList2"/>
    <dgm:cxn modelId="{76142726-0C35-4712-9563-B0BE2AAE76A2}" srcId="{871E102F-56F8-4D7F-BDC7-77BF6750614A}" destId="{812D8306-50F7-4C49-B520-F8EE99120BC9}" srcOrd="0" destOrd="0" parTransId="{D4298002-0CE7-4128-9523-F669C292107A}" sibTransId="{9D827BFC-F6F4-4474-BC19-F01FA2D76F1A}"/>
    <dgm:cxn modelId="{E36AAF25-643C-48F8-9354-356188581325}" type="presOf" srcId="{B0634E91-750F-4211-B5F1-6FF8AA0B75AB}" destId="{4E8FABC0-4590-4B51-8027-555E8E4489B7}" srcOrd="0" destOrd="0" presId="urn:microsoft.com/office/officeart/2005/8/layout/vList2"/>
    <dgm:cxn modelId="{E2709298-B38C-4491-AC52-087EDCBC5C57}" type="presOf" srcId="{C23473B2-80CF-45FA-88BD-D32582DF1797}" destId="{72D28E49-F7FA-496B-AE29-2313DF278920}" srcOrd="0" destOrd="0" presId="urn:microsoft.com/office/officeart/2005/8/layout/vList2"/>
    <dgm:cxn modelId="{90A8EC59-1B00-446C-8A8B-2041D32EED7D}" type="presOf" srcId="{852BEA92-5700-440B-B361-3544F2655D83}" destId="{12D7B5FF-C6BF-4732-925B-836081E66B35}" srcOrd="0" destOrd="2" presId="urn:microsoft.com/office/officeart/2005/8/layout/vList2"/>
    <dgm:cxn modelId="{5EBCA0BB-6CC5-4B8D-8CCA-48670E08BAE6}" srcId="{A8D3C81E-0374-418F-A083-2578C50EA0BA}" destId="{B0634E91-750F-4211-B5F1-6FF8AA0B75AB}" srcOrd="4" destOrd="0" parTransId="{FC403028-F18B-42D8-8ED2-00330BE9060E}" sibTransId="{8E8D8455-CCC9-482D-8EA5-7B092DD4D12C}"/>
    <dgm:cxn modelId="{2B306E51-6B0B-457C-BFDD-94813DFA3795}" srcId="{871E102F-56F8-4D7F-BDC7-77BF6750614A}" destId="{852BEA92-5700-440B-B361-3544F2655D83}" srcOrd="2" destOrd="0" parTransId="{9A21B9C4-2A08-49F1-855C-FF88F9BD0802}" sibTransId="{F8B7BA1B-199A-4F8F-8C5F-2FA80E5E5702}"/>
    <dgm:cxn modelId="{98C7BE8B-35F5-4607-83F9-B6EC44CDBDBC}" type="presOf" srcId="{9B8A41B4-31AA-4C88-B418-20EE050A32BE}" destId="{12D7B5FF-C6BF-4732-925B-836081E66B35}" srcOrd="0" destOrd="1" presId="urn:microsoft.com/office/officeart/2005/8/layout/vList2"/>
    <dgm:cxn modelId="{CC3E2544-8C38-4D14-A266-DF8EC99E74CD}" srcId="{A8D3C81E-0374-418F-A083-2578C50EA0BA}" destId="{8E0335A1-A969-4F9E-BA83-EC2C943943CF}" srcOrd="0" destOrd="0" parTransId="{91E563C0-6097-472B-8A8F-B8D022E02148}" sibTransId="{83326C15-46CD-47D1-A0E2-657871962EB1}"/>
    <dgm:cxn modelId="{E29B3238-9E60-42B2-A653-B6CDF3C9CC6E}" srcId="{A8D3C81E-0374-418F-A083-2578C50EA0BA}" destId="{66D93C18-A345-4F46-8A1E-66459DDF91C8}" srcOrd="3" destOrd="0" parTransId="{458AD33D-FA2A-47EB-8F62-89FDB1FE7D6C}" sibTransId="{6EAF89D5-ACDF-45B9-AFE2-FC833590A5AB}"/>
    <dgm:cxn modelId="{FC53F637-3576-41E7-9D70-107A3D809DDD}" type="presOf" srcId="{871E102F-56F8-4D7F-BDC7-77BF6750614A}" destId="{76EE87B8-7701-48E6-8FCA-F7D452D5D096}" srcOrd="0" destOrd="0" presId="urn:microsoft.com/office/officeart/2005/8/layout/vList2"/>
    <dgm:cxn modelId="{B5C4883C-BBD9-4891-9A9C-6ED14AEFAAC1}" srcId="{871E102F-56F8-4D7F-BDC7-77BF6750614A}" destId="{9B8A41B4-31AA-4C88-B418-20EE050A32BE}" srcOrd="1" destOrd="0" parTransId="{70FA4B3D-2E4A-44C2-93DE-59FB366A5AAA}" sibTransId="{92B1874A-0D7A-4BB0-B4EB-9002FA25CA6E}"/>
    <dgm:cxn modelId="{8AC37B63-FBB1-49A0-A214-077180ABD729}" type="presParOf" srcId="{E161B6EB-20D3-4EDC-A6D3-B8A70828989B}" destId="{512EFC5A-A64D-4117-9F36-2A7CF9952180}" srcOrd="0" destOrd="0" presId="urn:microsoft.com/office/officeart/2005/8/layout/vList2"/>
    <dgm:cxn modelId="{3C2078E0-5CC5-4A81-B853-288D73869F6F}" type="presParOf" srcId="{E161B6EB-20D3-4EDC-A6D3-B8A70828989B}" destId="{DC83DB30-C9B4-4FCB-81C0-1A2D8F4DE106}" srcOrd="1" destOrd="0" presId="urn:microsoft.com/office/officeart/2005/8/layout/vList2"/>
    <dgm:cxn modelId="{BA387734-A8DD-40CA-A59E-B07453EF1CB6}" type="presParOf" srcId="{E161B6EB-20D3-4EDC-A6D3-B8A70828989B}" destId="{76EE87B8-7701-48E6-8FCA-F7D452D5D096}" srcOrd="2" destOrd="0" presId="urn:microsoft.com/office/officeart/2005/8/layout/vList2"/>
    <dgm:cxn modelId="{527BB926-267E-40B6-868A-02EDE5A10867}" type="presParOf" srcId="{E161B6EB-20D3-4EDC-A6D3-B8A70828989B}" destId="{12D7B5FF-C6BF-4732-925B-836081E66B35}" srcOrd="3" destOrd="0" presId="urn:microsoft.com/office/officeart/2005/8/layout/vList2"/>
    <dgm:cxn modelId="{F791706D-A610-4770-BC9D-F11E9C16722F}" type="presParOf" srcId="{E161B6EB-20D3-4EDC-A6D3-B8A70828989B}" destId="{72D28E49-F7FA-496B-AE29-2313DF278920}" srcOrd="4" destOrd="0" presId="urn:microsoft.com/office/officeart/2005/8/layout/vList2"/>
    <dgm:cxn modelId="{54D46FA0-330B-4936-B992-2ED8AAEE07B3}" type="presParOf" srcId="{E161B6EB-20D3-4EDC-A6D3-B8A70828989B}" destId="{BED9DAC1-F8D4-4128-B080-E9E6F86C6EC3}" srcOrd="5" destOrd="0" presId="urn:microsoft.com/office/officeart/2005/8/layout/vList2"/>
    <dgm:cxn modelId="{26583AF6-1E84-487B-86F1-BC576A89D3F7}" type="presParOf" srcId="{E161B6EB-20D3-4EDC-A6D3-B8A70828989B}" destId="{2FC238F4-6784-400B-8C3B-138E98C5067D}" srcOrd="6" destOrd="0" presId="urn:microsoft.com/office/officeart/2005/8/layout/vList2"/>
    <dgm:cxn modelId="{E28DF912-7930-4FB4-9733-85C574A6A220}" type="presParOf" srcId="{E161B6EB-20D3-4EDC-A6D3-B8A70828989B}" destId="{A115E5F9-7871-4106-86F6-5992D04B8FF5}" srcOrd="7" destOrd="0" presId="urn:microsoft.com/office/officeart/2005/8/layout/vList2"/>
    <dgm:cxn modelId="{F3CDBCB9-89B1-4BC8-9301-7BAF10200616}" type="presParOf" srcId="{E161B6EB-20D3-4EDC-A6D3-B8A70828989B}" destId="{4E8FABC0-4590-4B51-8027-555E8E4489B7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A8D3C81E-0374-418F-A083-2578C50EA0BA}" type="doc">
      <dgm:prSet loTypeId="urn:microsoft.com/office/officeart/2005/8/layout/list1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E0335A1-A969-4F9E-BA83-EC2C943943CF}">
      <dgm:prSet/>
      <dgm:spPr/>
      <dgm:t>
        <a:bodyPr/>
        <a:lstStyle/>
        <a:p>
          <a:r>
            <a:rPr lang="ru-RU" dirty="0"/>
            <a:t>Период зачисления – 29 сентября – 02 октября</a:t>
          </a:r>
        </a:p>
      </dgm:t>
    </dgm:pt>
    <dgm:pt modelId="{91E563C0-6097-472B-8A8F-B8D022E02148}" type="parTrans" cxnId="{CC3E2544-8C38-4D14-A266-DF8EC99E74CD}">
      <dgm:prSet/>
      <dgm:spPr/>
      <dgm:t>
        <a:bodyPr/>
        <a:lstStyle/>
        <a:p>
          <a:endParaRPr lang="ru-RU"/>
        </a:p>
      </dgm:t>
    </dgm:pt>
    <dgm:pt modelId="{83326C15-46CD-47D1-A0E2-657871962EB1}" type="sibTrans" cxnId="{CC3E2544-8C38-4D14-A266-DF8EC99E74CD}">
      <dgm:prSet/>
      <dgm:spPr/>
      <dgm:t>
        <a:bodyPr/>
        <a:lstStyle/>
        <a:p>
          <a:endParaRPr lang="ru-RU"/>
        </a:p>
      </dgm:t>
    </dgm:pt>
    <dgm:pt modelId="{812D8306-50F7-4C49-B520-F8EE99120BC9}">
      <dgm:prSet/>
      <dgm:spPr/>
      <dgm:t>
        <a:bodyPr/>
        <a:lstStyle/>
        <a:p>
          <a:r>
            <a:rPr lang="ru-RU" dirty="0"/>
            <a:t>Выбрать в личном кабинете не менее 2 программ для обучения (математика, физика, химия)</a:t>
          </a:r>
        </a:p>
      </dgm:t>
    </dgm:pt>
    <dgm:pt modelId="{D4298002-0CE7-4128-9523-F669C292107A}" type="parTrans" cxnId="{76142726-0C35-4712-9563-B0BE2AAE76A2}">
      <dgm:prSet/>
      <dgm:spPr/>
      <dgm:t>
        <a:bodyPr/>
        <a:lstStyle/>
        <a:p>
          <a:endParaRPr lang="ru-RU"/>
        </a:p>
      </dgm:t>
    </dgm:pt>
    <dgm:pt modelId="{9D827BFC-F6F4-4474-BC19-F01FA2D76F1A}" type="sibTrans" cxnId="{76142726-0C35-4712-9563-B0BE2AAE76A2}">
      <dgm:prSet/>
      <dgm:spPr/>
      <dgm:t>
        <a:bodyPr/>
        <a:lstStyle/>
        <a:p>
          <a:endParaRPr lang="ru-RU"/>
        </a:p>
      </dgm:t>
    </dgm:pt>
    <dgm:pt modelId="{9B8A41B4-31AA-4C88-B418-20EE050A32BE}">
      <dgm:prSet/>
      <dgm:spPr/>
      <dgm:t>
        <a:bodyPr/>
        <a:lstStyle/>
        <a:p>
          <a:r>
            <a:rPr lang="ru-RU" dirty="0"/>
            <a:t>Загрузить скан-копию заявления о зачислении в Технический университет УГМК (за подписью родителя либо законного представителя)</a:t>
          </a:r>
        </a:p>
      </dgm:t>
    </dgm:pt>
    <dgm:pt modelId="{70FA4B3D-2E4A-44C2-93DE-59FB366A5AAA}" type="parTrans" cxnId="{B5C4883C-BBD9-4891-9A9C-6ED14AEFAAC1}">
      <dgm:prSet/>
      <dgm:spPr/>
      <dgm:t>
        <a:bodyPr/>
        <a:lstStyle/>
        <a:p>
          <a:endParaRPr lang="ru-RU"/>
        </a:p>
      </dgm:t>
    </dgm:pt>
    <dgm:pt modelId="{92B1874A-0D7A-4BB0-B4EB-9002FA25CA6E}" type="sibTrans" cxnId="{B5C4883C-BBD9-4891-9A9C-6ED14AEFAAC1}">
      <dgm:prSet/>
      <dgm:spPr/>
      <dgm:t>
        <a:bodyPr/>
        <a:lstStyle/>
        <a:p>
          <a:endParaRPr lang="ru-RU"/>
        </a:p>
      </dgm:t>
    </dgm:pt>
    <dgm:pt modelId="{852BEA92-5700-440B-B361-3544F2655D83}">
      <dgm:prSet/>
      <dgm:spPr/>
      <dgm:t>
        <a:bodyPr/>
        <a:lstStyle/>
        <a:p>
          <a:r>
            <a:rPr lang="ru-RU" dirty="0"/>
            <a:t>Загрузить скан-копию согласия об обработке персональных данных (за подписью родителя либо законного представителя)</a:t>
          </a:r>
        </a:p>
      </dgm:t>
    </dgm:pt>
    <dgm:pt modelId="{9A21B9C4-2A08-49F1-855C-FF88F9BD0802}" type="parTrans" cxnId="{2B306E51-6B0B-457C-BFDD-94813DFA3795}">
      <dgm:prSet/>
      <dgm:spPr/>
      <dgm:t>
        <a:bodyPr/>
        <a:lstStyle/>
        <a:p>
          <a:endParaRPr lang="ru-RU"/>
        </a:p>
      </dgm:t>
    </dgm:pt>
    <dgm:pt modelId="{F8B7BA1B-199A-4F8F-8C5F-2FA80E5E5702}" type="sibTrans" cxnId="{2B306E51-6B0B-457C-BFDD-94813DFA3795}">
      <dgm:prSet/>
      <dgm:spPr/>
      <dgm:t>
        <a:bodyPr/>
        <a:lstStyle/>
        <a:p>
          <a:endParaRPr lang="ru-RU"/>
        </a:p>
      </dgm:t>
    </dgm:pt>
    <dgm:pt modelId="{871E102F-56F8-4D7F-BDC7-77BF6750614A}">
      <dgm:prSet/>
      <dgm:spPr/>
      <dgm:t>
        <a:bodyPr/>
        <a:lstStyle/>
        <a:p>
          <a:r>
            <a:rPr lang="ru-RU" dirty="0"/>
            <a:t>Необходимые действия</a:t>
          </a:r>
        </a:p>
      </dgm:t>
    </dgm:pt>
    <dgm:pt modelId="{20D368DE-88A6-41BF-9916-FAAEC5FDB763}" type="parTrans" cxnId="{2DE92E3A-A825-4DF7-9816-4D7F0446BEBC}">
      <dgm:prSet/>
      <dgm:spPr/>
      <dgm:t>
        <a:bodyPr/>
        <a:lstStyle/>
        <a:p>
          <a:endParaRPr lang="ru-RU"/>
        </a:p>
      </dgm:t>
    </dgm:pt>
    <dgm:pt modelId="{EC5E3C21-25AD-493A-B107-EE6E158B8BED}" type="sibTrans" cxnId="{2DE92E3A-A825-4DF7-9816-4D7F0446BEBC}">
      <dgm:prSet/>
      <dgm:spPr/>
      <dgm:t>
        <a:bodyPr/>
        <a:lstStyle/>
        <a:p>
          <a:endParaRPr lang="ru-RU"/>
        </a:p>
      </dgm:t>
    </dgm:pt>
    <dgm:pt modelId="{0503836D-D775-4C0A-9231-F9C898F68376}">
      <dgm:prSet/>
      <dgm:spPr/>
      <dgm:t>
        <a:bodyPr/>
        <a:lstStyle/>
        <a:p>
          <a:r>
            <a:rPr lang="ru-RU" dirty="0"/>
            <a:t>В случае отказа школьника от обучения, на его место приглашается следующий в рейтинговом списке</a:t>
          </a:r>
        </a:p>
      </dgm:t>
    </dgm:pt>
    <dgm:pt modelId="{6335A2E5-BDD4-4E42-A518-851256DF4112}" type="parTrans" cxnId="{7E142A67-0070-42AC-8504-7F72617BB470}">
      <dgm:prSet/>
      <dgm:spPr/>
      <dgm:t>
        <a:bodyPr/>
        <a:lstStyle/>
        <a:p>
          <a:endParaRPr lang="ru-RU"/>
        </a:p>
      </dgm:t>
    </dgm:pt>
    <dgm:pt modelId="{54FCF9BE-E1DD-43D0-B977-200B791EC683}" type="sibTrans" cxnId="{7E142A67-0070-42AC-8504-7F72617BB470}">
      <dgm:prSet/>
      <dgm:spPr/>
      <dgm:t>
        <a:bodyPr/>
        <a:lstStyle/>
        <a:p>
          <a:endParaRPr lang="ru-RU"/>
        </a:p>
      </dgm:t>
    </dgm:pt>
    <dgm:pt modelId="{347F62B0-0715-4A64-94BB-A63C419EFB50}">
      <dgm:prSet/>
      <dgm:spPr/>
      <dgm:t>
        <a:bodyPr/>
        <a:lstStyle/>
        <a:p>
          <a:r>
            <a:rPr lang="ru-RU" dirty="0"/>
            <a:t>Ориентировочная дата начала обучения – 05 октября</a:t>
          </a:r>
        </a:p>
      </dgm:t>
    </dgm:pt>
    <dgm:pt modelId="{557764A3-B00C-4BE9-B712-50CA75B0FFCE}" type="parTrans" cxnId="{059F26EB-9484-452C-BF99-6F86688AAA5A}">
      <dgm:prSet/>
      <dgm:spPr/>
      <dgm:t>
        <a:bodyPr/>
        <a:lstStyle/>
        <a:p>
          <a:endParaRPr lang="ru-RU"/>
        </a:p>
      </dgm:t>
    </dgm:pt>
    <dgm:pt modelId="{4F7A9F04-D16C-4227-A57C-88685641537C}" type="sibTrans" cxnId="{059F26EB-9484-452C-BF99-6F86688AAA5A}">
      <dgm:prSet/>
      <dgm:spPr/>
      <dgm:t>
        <a:bodyPr/>
        <a:lstStyle/>
        <a:p>
          <a:endParaRPr lang="ru-RU"/>
        </a:p>
      </dgm:t>
    </dgm:pt>
    <dgm:pt modelId="{BAFBB850-D641-4751-BFC7-28E761B3E1DF}" type="pres">
      <dgm:prSet presAssocID="{A8D3C81E-0374-418F-A083-2578C50EA0BA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8A2158B-EFD7-4A1F-BA6E-46C91E365E6A}" type="pres">
      <dgm:prSet presAssocID="{8E0335A1-A969-4F9E-BA83-EC2C943943CF}" presName="parentLin" presStyleCnt="0"/>
      <dgm:spPr/>
    </dgm:pt>
    <dgm:pt modelId="{E883F1C6-6AC9-4947-A400-15D464BB155E}" type="pres">
      <dgm:prSet presAssocID="{8E0335A1-A969-4F9E-BA83-EC2C943943CF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3E8AD1B8-0424-4AB9-BD14-4DACD792AEA0}" type="pres">
      <dgm:prSet presAssocID="{8E0335A1-A969-4F9E-BA83-EC2C943943CF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90FF827-F1C9-4E6C-86DA-E51F5A46B65F}" type="pres">
      <dgm:prSet presAssocID="{8E0335A1-A969-4F9E-BA83-EC2C943943CF}" presName="negativeSpace" presStyleCnt="0"/>
      <dgm:spPr/>
    </dgm:pt>
    <dgm:pt modelId="{440961B6-3F68-4A04-BC40-5D0097D55BF9}" type="pres">
      <dgm:prSet presAssocID="{8E0335A1-A969-4F9E-BA83-EC2C943943CF}" presName="childText" presStyleLbl="conFgAcc1" presStyleIdx="0" presStyleCnt="4">
        <dgm:presLayoutVars>
          <dgm:bulletEnabled val="1"/>
        </dgm:presLayoutVars>
      </dgm:prSet>
      <dgm:spPr/>
    </dgm:pt>
    <dgm:pt modelId="{3A71E099-B3C7-48B5-AE1B-FB0D051771FE}" type="pres">
      <dgm:prSet presAssocID="{83326C15-46CD-47D1-A0E2-657871962EB1}" presName="spaceBetweenRectangles" presStyleCnt="0"/>
      <dgm:spPr/>
    </dgm:pt>
    <dgm:pt modelId="{2075861D-DFBB-4DA2-88EE-86402CF0F5F2}" type="pres">
      <dgm:prSet presAssocID="{871E102F-56F8-4D7F-BDC7-77BF6750614A}" presName="parentLin" presStyleCnt="0"/>
      <dgm:spPr/>
    </dgm:pt>
    <dgm:pt modelId="{7F4660E8-3D78-4DE4-880A-331EAFB22D88}" type="pres">
      <dgm:prSet presAssocID="{871E102F-56F8-4D7F-BDC7-77BF6750614A}" presName="parentLeftMargin" presStyleLbl="node1" presStyleIdx="0" presStyleCnt="4"/>
      <dgm:spPr/>
      <dgm:t>
        <a:bodyPr/>
        <a:lstStyle/>
        <a:p>
          <a:endParaRPr lang="ru-RU"/>
        </a:p>
      </dgm:t>
    </dgm:pt>
    <dgm:pt modelId="{BABD1654-F551-420D-9271-7A290564A990}" type="pres">
      <dgm:prSet presAssocID="{871E102F-56F8-4D7F-BDC7-77BF6750614A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232A7AA-BA2C-4775-BB34-97BC64A35582}" type="pres">
      <dgm:prSet presAssocID="{871E102F-56F8-4D7F-BDC7-77BF6750614A}" presName="negativeSpace" presStyleCnt="0"/>
      <dgm:spPr/>
    </dgm:pt>
    <dgm:pt modelId="{1E0E6B6A-9BC1-486F-A528-431751A98AEB}" type="pres">
      <dgm:prSet presAssocID="{871E102F-56F8-4D7F-BDC7-77BF6750614A}" presName="childText" presStyleLbl="conFgAcc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54B0B17-B9CA-45FB-9E57-98D96FD5A9A8}" type="pres">
      <dgm:prSet presAssocID="{EC5E3C21-25AD-493A-B107-EE6E158B8BED}" presName="spaceBetweenRectangles" presStyleCnt="0"/>
      <dgm:spPr/>
    </dgm:pt>
    <dgm:pt modelId="{3406A16F-AF54-4F00-B26C-177364ABFF36}" type="pres">
      <dgm:prSet presAssocID="{0503836D-D775-4C0A-9231-F9C898F68376}" presName="parentLin" presStyleCnt="0"/>
      <dgm:spPr/>
    </dgm:pt>
    <dgm:pt modelId="{FAD2990F-DB0E-45B8-B58B-C1175643E532}" type="pres">
      <dgm:prSet presAssocID="{0503836D-D775-4C0A-9231-F9C898F68376}" presName="parentLeftMargin" presStyleLbl="node1" presStyleIdx="1" presStyleCnt="4"/>
      <dgm:spPr/>
      <dgm:t>
        <a:bodyPr/>
        <a:lstStyle/>
        <a:p>
          <a:endParaRPr lang="ru-RU"/>
        </a:p>
      </dgm:t>
    </dgm:pt>
    <dgm:pt modelId="{A7490D79-044E-43FD-9C7C-04F29B8D76EA}" type="pres">
      <dgm:prSet presAssocID="{0503836D-D775-4C0A-9231-F9C898F68376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24F534-3D86-4501-ADDD-39AC5689E0E2}" type="pres">
      <dgm:prSet presAssocID="{0503836D-D775-4C0A-9231-F9C898F68376}" presName="negativeSpace" presStyleCnt="0"/>
      <dgm:spPr/>
    </dgm:pt>
    <dgm:pt modelId="{55C72669-CD29-438B-A35C-AA1EB8F3CA01}" type="pres">
      <dgm:prSet presAssocID="{0503836D-D775-4C0A-9231-F9C898F68376}" presName="childText" presStyleLbl="conFgAcc1" presStyleIdx="2" presStyleCnt="4">
        <dgm:presLayoutVars>
          <dgm:bulletEnabled val="1"/>
        </dgm:presLayoutVars>
      </dgm:prSet>
      <dgm:spPr/>
    </dgm:pt>
    <dgm:pt modelId="{D1AEA043-25CB-46A3-91A9-3B57E417868D}" type="pres">
      <dgm:prSet presAssocID="{54FCF9BE-E1DD-43D0-B977-200B791EC683}" presName="spaceBetweenRectangles" presStyleCnt="0"/>
      <dgm:spPr/>
    </dgm:pt>
    <dgm:pt modelId="{DDFE5BA8-8E5A-4DDC-A59D-7C00D1471611}" type="pres">
      <dgm:prSet presAssocID="{347F62B0-0715-4A64-94BB-A63C419EFB50}" presName="parentLin" presStyleCnt="0"/>
      <dgm:spPr/>
    </dgm:pt>
    <dgm:pt modelId="{30051962-8A56-4E3C-96BD-4878B403D2E8}" type="pres">
      <dgm:prSet presAssocID="{347F62B0-0715-4A64-94BB-A63C419EFB50}" presName="parentLeftMargin" presStyleLbl="node1" presStyleIdx="2" presStyleCnt="4"/>
      <dgm:spPr/>
      <dgm:t>
        <a:bodyPr/>
        <a:lstStyle/>
        <a:p>
          <a:endParaRPr lang="ru-RU"/>
        </a:p>
      </dgm:t>
    </dgm:pt>
    <dgm:pt modelId="{2A6EC74C-3865-4815-A1F3-8ABED5F3A3E1}" type="pres">
      <dgm:prSet presAssocID="{347F62B0-0715-4A64-94BB-A63C419EFB50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55F7CE6-682E-462D-8375-7DB186B31B09}" type="pres">
      <dgm:prSet presAssocID="{347F62B0-0715-4A64-94BB-A63C419EFB50}" presName="negativeSpace" presStyleCnt="0"/>
      <dgm:spPr/>
    </dgm:pt>
    <dgm:pt modelId="{E4B11EB1-DC5C-4EAE-91C2-974E70FC7E8E}" type="pres">
      <dgm:prSet presAssocID="{347F62B0-0715-4A64-94BB-A63C419EFB50}" presName="childText" presStyleLbl="conFgAcc1" presStyleIdx="3" presStyleCnt="4">
        <dgm:presLayoutVars>
          <dgm:bulletEnabled val="1"/>
        </dgm:presLayoutVars>
      </dgm:prSet>
      <dgm:spPr/>
    </dgm:pt>
  </dgm:ptLst>
  <dgm:cxnLst>
    <dgm:cxn modelId="{0D3232E1-8D0E-4D0A-AAE3-EE8332ABE5F9}" type="presOf" srcId="{852BEA92-5700-440B-B361-3544F2655D83}" destId="{1E0E6B6A-9BC1-486F-A528-431751A98AEB}" srcOrd="0" destOrd="2" presId="urn:microsoft.com/office/officeart/2005/8/layout/list1"/>
    <dgm:cxn modelId="{2B306E51-6B0B-457C-BFDD-94813DFA3795}" srcId="{871E102F-56F8-4D7F-BDC7-77BF6750614A}" destId="{852BEA92-5700-440B-B361-3544F2655D83}" srcOrd="2" destOrd="0" parTransId="{9A21B9C4-2A08-49F1-855C-FF88F9BD0802}" sibTransId="{F8B7BA1B-199A-4F8F-8C5F-2FA80E5E5702}"/>
    <dgm:cxn modelId="{B9A0BA40-91FB-4D26-9C22-10AB43412102}" type="presOf" srcId="{347F62B0-0715-4A64-94BB-A63C419EFB50}" destId="{30051962-8A56-4E3C-96BD-4878B403D2E8}" srcOrd="0" destOrd="0" presId="urn:microsoft.com/office/officeart/2005/8/layout/list1"/>
    <dgm:cxn modelId="{590A6D2E-7E69-4087-B1A2-45BBF1BD40BE}" type="presOf" srcId="{871E102F-56F8-4D7F-BDC7-77BF6750614A}" destId="{7F4660E8-3D78-4DE4-880A-331EAFB22D88}" srcOrd="0" destOrd="0" presId="urn:microsoft.com/office/officeart/2005/8/layout/list1"/>
    <dgm:cxn modelId="{2665425E-4D81-43A7-850E-5818CE041077}" type="presOf" srcId="{A8D3C81E-0374-418F-A083-2578C50EA0BA}" destId="{BAFBB850-D641-4751-BFC7-28E761B3E1DF}" srcOrd="0" destOrd="0" presId="urn:microsoft.com/office/officeart/2005/8/layout/list1"/>
    <dgm:cxn modelId="{2DE92E3A-A825-4DF7-9816-4D7F0446BEBC}" srcId="{A8D3C81E-0374-418F-A083-2578C50EA0BA}" destId="{871E102F-56F8-4D7F-BDC7-77BF6750614A}" srcOrd="1" destOrd="0" parTransId="{20D368DE-88A6-41BF-9916-FAAEC5FDB763}" sibTransId="{EC5E3C21-25AD-493A-B107-EE6E158B8BED}"/>
    <dgm:cxn modelId="{D8C8D3A9-8C12-4477-B600-ACB39A5E5DDC}" type="presOf" srcId="{0503836D-D775-4C0A-9231-F9C898F68376}" destId="{A7490D79-044E-43FD-9C7C-04F29B8D76EA}" srcOrd="1" destOrd="0" presId="urn:microsoft.com/office/officeart/2005/8/layout/list1"/>
    <dgm:cxn modelId="{059F26EB-9484-452C-BF99-6F86688AAA5A}" srcId="{A8D3C81E-0374-418F-A083-2578C50EA0BA}" destId="{347F62B0-0715-4A64-94BB-A63C419EFB50}" srcOrd="3" destOrd="0" parTransId="{557764A3-B00C-4BE9-B712-50CA75B0FFCE}" sibTransId="{4F7A9F04-D16C-4227-A57C-88685641537C}"/>
    <dgm:cxn modelId="{B5C4883C-BBD9-4891-9A9C-6ED14AEFAAC1}" srcId="{871E102F-56F8-4D7F-BDC7-77BF6750614A}" destId="{9B8A41B4-31AA-4C88-B418-20EE050A32BE}" srcOrd="1" destOrd="0" parTransId="{70FA4B3D-2E4A-44C2-93DE-59FB366A5AAA}" sibTransId="{92B1874A-0D7A-4BB0-B4EB-9002FA25CA6E}"/>
    <dgm:cxn modelId="{76D7250E-8979-4C6B-9B54-2C1896378B45}" type="presOf" srcId="{347F62B0-0715-4A64-94BB-A63C419EFB50}" destId="{2A6EC74C-3865-4815-A1F3-8ABED5F3A3E1}" srcOrd="1" destOrd="0" presId="urn:microsoft.com/office/officeart/2005/8/layout/list1"/>
    <dgm:cxn modelId="{CC3E2544-8C38-4D14-A266-DF8EC99E74CD}" srcId="{A8D3C81E-0374-418F-A083-2578C50EA0BA}" destId="{8E0335A1-A969-4F9E-BA83-EC2C943943CF}" srcOrd="0" destOrd="0" parTransId="{91E563C0-6097-472B-8A8F-B8D022E02148}" sibTransId="{83326C15-46CD-47D1-A0E2-657871962EB1}"/>
    <dgm:cxn modelId="{B7453A30-464A-4B06-B1FB-BACCB469A1DF}" type="presOf" srcId="{8E0335A1-A969-4F9E-BA83-EC2C943943CF}" destId="{E883F1C6-6AC9-4947-A400-15D464BB155E}" srcOrd="0" destOrd="0" presId="urn:microsoft.com/office/officeart/2005/8/layout/list1"/>
    <dgm:cxn modelId="{B3DCE996-9C02-4DFC-BC62-A1959E74B586}" type="presOf" srcId="{812D8306-50F7-4C49-B520-F8EE99120BC9}" destId="{1E0E6B6A-9BC1-486F-A528-431751A98AEB}" srcOrd="0" destOrd="0" presId="urn:microsoft.com/office/officeart/2005/8/layout/list1"/>
    <dgm:cxn modelId="{7B959476-EE7D-486E-AEDB-E96E1DC01793}" type="presOf" srcId="{9B8A41B4-31AA-4C88-B418-20EE050A32BE}" destId="{1E0E6B6A-9BC1-486F-A528-431751A98AEB}" srcOrd="0" destOrd="1" presId="urn:microsoft.com/office/officeart/2005/8/layout/list1"/>
    <dgm:cxn modelId="{43F14CBE-07E2-4F07-AD82-BC5F1175A9C0}" type="presOf" srcId="{871E102F-56F8-4D7F-BDC7-77BF6750614A}" destId="{BABD1654-F551-420D-9271-7A290564A990}" srcOrd="1" destOrd="0" presId="urn:microsoft.com/office/officeart/2005/8/layout/list1"/>
    <dgm:cxn modelId="{7E142A67-0070-42AC-8504-7F72617BB470}" srcId="{A8D3C81E-0374-418F-A083-2578C50EA0BA}" destId="{0503836D-D775-4C0A-9231-F9C898F68376}" srcOrd="2" destOrd="0" parTransId="{6335A2E5-BDD4-4E42-A518-851256DF4112}" sibTransId="{54FCF9BE-E1DD-43D0-B977-200B791EC683}"/>
    <dgm:cxn modelId="{5790C956-80C7-4B73-B0EE-F4222F1938C5}" type="presOf" srcId="{0503836D-D775-4C0A-9231-F9C898F68376}" destId="{FAD2990F-DB0E-45B8-B58B-C1175643E532}" srcOrd="0" destOrd="0" presId="urn:microsoft.com/office/officeart/2005/8/layout/list1"/>
    <dgm:cxn modelId="{6EDA8DA0-A8AE-4379-83F2-AC62DF8C6EC8}" type="presOf" srcId="{8E0335A1-A969-4F9E-BA83-EC2C943943CF}" destId="{3E8AD1B8-0424-4AB9-BD14-4DACD792AEA0}" srcOrd="1" destOrd="0" presId="urn:microsoft.com/office/officeart/2005/8/layout/list1"/>
    <dgm:cxn modelId="{76142726-0C35-4712-9563-B0BE2AAE76A2}" srcId="{871E102F-56F8-4D7F-BDC7-77BF6750614A}" destId="{812D8306-50F7-4C49-B520-F8EE99120BC9}" srcOrd="0" destOrd="0" parTransId="{D4298002-0CE7-4128-9523-F669C292107A}" sibTransId="{9D827BFC-F6F4-4474-BC19-F01FA2D76F1A}"/>
    <dgm:cxn modelId="{423C0393-FFC5-40E8-91BA-A306FD42412A}" type="presParOf" srcId="{BAFBB850-D641-4751-BFC7-28E761B3E1DF}" destId="{D8A2158B-EFD7-4A1F-BA6E-46C91E365E6A}" srcOrd="0" destOrd="0" presId="urn:microsoft.com/office/officeart/2005/8/layout/list1"/>
    <dgm:cxn modelId="{EB74A733-E095-402E-A858-E458E3189E56}" type="presParOf" srcId="{D8A2158B-EFD7-4A1F-BA6E-46C91E365E6A}" destId="{E883F1C6-6AC9-4947-A400-15D464BB155E}" srcOrd="0" destOrd="0" presId="urn:microsoft.com/office/officeart/2005/8/layout/list1"/>
    <dgm:cxn modelId="{00507622-E191-4423-B5C8-3C43CB88D35C}" type="presParOf" srcId="{D8A2158B-EFD7-4A1F-BA6E-46C91E365E6A}" destId="{3E8AD1B8-0424-4AB9-BD14-4DACD792AEA0}" srcOrd="1" destOrd="0" presId="urn:microsoft.com/office/officeart/2005/8/layout/list1"/>
    <dgm:cxn modelId="{E7ECE6F2-0208-4ECC-80AA-D406E8C07793}" type="presParOf" srcId="{BAFBB850-D641-4751-BFC7-28E761B3E1DF}" destId="{890FF827-F1C9-4E6C-86DA-E51F5A46B65F}" srcOrd="1" destOrd="0" presId="urn:microsoft.com/office/officeart/2005/8/layout/list1"/>
    <dgm:cxn modelId="{47F2447E-F435-4A91-8428-8CF670A8972C}" type="presParOf" srcId="{BAFBB850-D641-4751-BFC7-28E761B3E1DF}" destId="{440961B6-3F68-4A04-BC40-5D0097D55BF9}" srcOrd="2" destOrd="0" presId="urn:microsoft.com/office/officeart/2005/8/layout/list1"/>
    <dgm:cxn modelId="{F6AF8DA2-AADF-40A3-84BE-46B56EE42909}" type="presParOf" srcId="{BAFBB850-D641-4751-BFC7-28E761B3E1DF}" destId="{3A71E099-B3C7-48B5-AE1B-FB0D051771FE}" srcOrd="3" destOrd="0" presId="urn:microsoft.com/office/officeart/2005/8/layout/list1"/>
    <dgm:cxn modelId="{D76DBFE4-AC2A-46F4-9716-F459C59E8166}" type="presParOf" srcId="{BAFBB850-D641-4751-BFC7-28E761B3E1DF}" destId="{2075861D-DFBB-4DA2-88EE-86402CF0F5F2}" srcOrd="4" destOrd="0" presId="urn:microsoft.com/office/officeart/2005/8/layout/list1"/>
    <dgm:cxn modelId="{1AECEAAA-7C13-4263-979E-43135C70EE8A}" type="presParOf" srcId="{2075861D-DFBB-4DA2-88EE-86402CF0F5F2}" destId="{7F4660E8-3D78-4DE4-880A-331EAFB22D88}" srcOrd="0" destOrd="0" presId="urn:microsoft.com/office/officeart/2005/8/layout/list1"/>
    <dgm:cxn modelId="{5BA9030F-BC44-4098-8302-979591471CAE}" type="presParOf" srcId="{2075861D-DFBB-4DA2-88EE-86402CF0F5F2}" destId="{BABD1654-F551-420D-9271-7A290564A990}" srcOrd="1" destOrd="0" presId="urn:microsoft.com/office/officeart/2005/8/layout/list1"/>
    <dgm:cxn modelId="{06802107-1261-49D3-A9BD-54B659BB9084}" type="presParOf" srcId="{BAFBB850-D641-4751-BFC7-28E761B3E1DF}" destId="{9232A7AA-BA2C-4775-BB34-97BC64A35582}" srcOrd="5" destOrd="0" presId="urn:microsoft.com/office/officeart/2005/8/layout/list1"/>
    <dgm:cxn modelId="{8C251250-D2D1-4359-92F1-26F3B64C23D9}" type="presParOf" srcId="{BAFBB850-D641-4751-BFC7-28E761B3E1DF}" destId="{1E0E6B6A-9BC1-486F-A528-431751A98AEB}" srcOrd="6" destOrd="0" presId="urn:microsoft.com/office/officeart/2005/8/layout/list1"/>
    <dgm:cxn modelId="{4C2691C0-130A-4D61-8915-7EBB66EBE951}" type="presParOf" srcId="{BAFBB850-D641-4751-BFC7-28E761B3E1DF}" destId="{D54B0B17-B9CA-45FB-9E57-98D96FD5A9A8}" srcOrd="7" destOrd="0" presId="urn:microsoft.com/office/officeart/2005/8/layout/list1"/>
    <dgm:cxn modelId="{A5B05E4C-4EDE-43A7-9DA6-A2A5652618F1}" type="presParOf" srcId="{BAFBB850-D641-4751-BFC7-28E761B3E1DF}" destId="{3406A16F-AF54-4F00-B26C-177364ABFF36}" srcOrd="8" destOrd="0" presId="urn:microsoft.com/office/officeart/2005/8/layout/list1"/>
    <dgm:cxn modelId="{6DE0E78F-4C9F-472E-A472-AACFBB2CF6F0}" type="presParOf" srcId="{3406A16F-AF54-4F00-B26C-177364ABFF36}" destId="{FAD2990F-DB0E-45B8-B58B-C1175643E532}" srcOrd="0" destOrd="0" presId="urn:microsoft.com/office/officeart/2005/8/layout/list1"/>
    <dgm:cxn modelId="{62E15BB2-A03A-4319-9EE7-DDB16F843955}" type="presParOf" srcId="{3406A16F-AF54-4F00-B26C-177364ABFF36}" destId="{A7490D79-044E-43FD-9C7C-04F29B8D76EA}" srcOrd="1" destOrd="0" presId="urn:microsoft.com/office/officeart/2005/8/layout/list1"/>
    <dgm:cxn modelId="{9A63153E-07E0-46AC-B3BC-376594F1ECEC}" type="presParOf" srcId="{BAFBB850-D641-4751-BFC7-28E761B3E1DF}" destId="{AE24F534-3D86-4501-ADDD-39AC5689E0E2}" srcOrd="9" destOrd="0" presId="urn:microsoft.com/office/officeart/2005/8/layout/list1"/>
    <dgm:cxn modelId="{C57D25BA-CD4D-4F3A-8104-E8685E3B11E2}" type="presParOf" srcId="{BAFBB850-D641-4751-BFC7-28E761B3E1DF}" destId="{55C72669-CD29-438B-A35C-AA1EB8F3CA01}" srcOrd="10" destOrd="0" presId="urn:microsoft.com/office/officeart/2005/8/layout/list1"/>
    <dgm:cxn modelId="{BA3859BB-9CFA-45D6-84A5-4295E336E40A}" type="presParOf" srcId="{BAFBB850-D641-4751-BFC7-28E761B3E1DF}" destId="{D1AEA043-25CB-46A3-91A9-3B57E417868D}" srcOrd="11" destOrd="0" presId="urn:microsoft.com/office/officeart/2005/8/layout/list1"/>
    <dgm:cxn modelId="{9528E67F-4336-4D16-B903-2E66A44EB66F}" type="presParOf" srcId="{BAFBB850-D641-4751-BFC7-28E761B3E1DF}" destId="{DDFE5BA8-8E5A-4DDC-A59D-7C00D1471611}" srcOrd="12" destOrd="0" presId="urn:microsoft.com/office/officeart/2005/8/layout/list1"/>
    <dgm:cxn modelId="{307C6C27-EA45-4953-B6E4-1A116D6684BA}" type="presParOf" srcId="{DDFE5BA8-8E5A-4DDC-A59D-7C00D1471611}" destId="{30051962-8A56-4E3C-96BD-4878B403D2E8}" srcOrd="0" destOrd="0" presId="urn:microsoft.com/office/officeart/2005/8/layout/list1"/>
    <dgm:cxn modelId="{5D78BF24-DF5B-4AA3-9BA2-92947FE0B592}" type="presParOf" srcId="{DDFE5BA8-8E5A-4DDC-A59D-7C00D1471611}" destId="{2A6EC74C-3865-4815-A1F3-8ABED5F3A3E1}" srcOrd="1" destOrd="0" presId="urn:microsoft.com/office/officeart/2005/8/layout/list1"/>
    <dgm:cxn modelId="{26FB43AC-7BC6-40A2-ABC0-1D4BFA2F73CA}" type="presParOf" srcId="{BAFBB850-D641-4751-BFC7-28E761B3E1DF}" destId="{655F7CE6-682E-462D-8375-7DB186B31B09}" srcOrd="13" destOrd="0" presId="urn:microsoft.com/office/officeart/2005/8/layout/list1"/>
    <dgm:cxn modelId="{395C941C-C111-47C5-BD98-D19EC3BACD4A}" type="presParOf" srcId="{BAFBB850-D641-4751-BFC7-28E761B3E1DF}" destId="{E4B11EB1-DC5C-4EAE-91C2-974E70FC7E8E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F257E75-6098-416E-8DD9-810B423CDB6E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07AF07DA-0065-483B-9349-E53BE799070B}">
      <dgm:prSet/>
      <dgm:spPr/>
      <dgm:t>
        <a:bodyPr/>
        <a:lstStyle/>
        <a:p>
          <a:r>
            <a:rPr lang="ru-RU" dirty="0"/>
            <a:t>Обучение для школьников БЕСПЛАТНОЕ (средства предприятий УГМК)</a:t>
          </a:r>
        </a:p>
      </dgm:t>
    </dgm:pt>
    <dgm:pt modelId="{A66528B0-343A-4D43-B361-93E77D8074DE}" type="parTrans" cxnId="{BC1F7363-1AF5-4B3B-8692-3481973125B6}">
      <dgm:prSet/>
      <dgm:spPr/>
      <dgm:t>
        <a:bodyPr/>
        <a:lstStyle/>
        <a:p>
          <a:endParaRPr lang="ru-RU"/>
        </a:p>
      </dgm:t>
    </dgm:pt>
    <dgm:pt modelId="{05426D15-5659-4EA4-A054-CFC601C90996}" type="sibTrans" cxnId="{BC1F7363-1AF5-4B3B-8692-3481973125B6}">
      <dgm:prSet/>
      <dgm:spPr/>
      <dgm:t>
        <a:bodyPr/>
        <a:lstStyle/>
        <a:p>
          <a:endParaRPr lang="ru-RU"/>
        </a:p>
      </dgm:t>
    </dgm:pt>
    <dgm:pt modelId="{32C5C6CB-85AD-4B47-B375-21F3EAD1D5B2}">
      <dgm:prSet/>
      <dgm:spPr/>
      <dgm:t>
        <a:bodyPr/>
        <a:lstStyle/>
        <a:p>
          <a:r>
            <a:rPr lang="ru-RU" dirty="0"/>
            <a:t>Поступать могут школьники 7-11 классов территорий присутствия УГМК</a:t>
          </a:r>
        </a:p>
      </dgm:t>
    </dgm:pt>
    <dgm:pt modelId="{C24C53D4-5E39-4DC6-98A5-BF1779432831}" type="parTrans" cxnId="{B7DD92A1-DC4C-4A1E-BCE0-3F1BD421626A}">
      <dgm:prSet/>
      <dgm:spPr/>
      <dgm:t>
        <a:bodyPr/>
        <a:lstStyle/>
        <a:p>
          <a:endParaRPr lang="ru-RU"/>
        </a:p>
      </dgm:t>
    </dgm:pt>
    <dgm:pt modelId="{8E195626-9E2A-46CD-A63C-78F1A0C3570E}" type="sibTrans" cxnId="{B7DD92A1-DC4C-4A1E-BCE0-3F1BD421626A}">
      <dgm:prSet/>
      <dgm:spPr/>
      <dgm:t>
        <a:bodyPr/>
        <a:lstStyle/>
        <a:p>
          <a:endParaRPr lang="ru-RU"/>
        </a:p>
      </dgm:t>
    </dgm:pt>
    <dgm:pt modelId="{A8374076-6839-40E0-9535-23987D62581B}">
      <dgm:prSet/>
      <dgm:spPr/>
      <dgm:t>
        <a:bodyPr/>
        <a:lstStyle/>
        <a:p>
          <a:r>
            <a:rPr lang="ru-RU" dirty="0"/>
            <a:t>Поступление по результатам конкурсного отбора </a:t>
          </a:r>
        </a:p>
      </dgm:t>
    </dgm:pt>
    <dgm:pt modelId="{5216AC1F-B16A-4574-83A9-2772EC79F8EE}" type="parTrans" cxnId="{904F03CB-8695-4709-BF4D-C30E353631B8}">
      <dgm:prSet/>
      <dgm:spPr/>
      <dgm:t>
        <a:bodyPr/>
        <a:lstStyle/>
        <a:p>
          <a:endParaRPr lang="ru-RU"/>
        </a:p>
      </dgm:t>
    </dgm:pt>
    <dgm:pt modelId="{FDFB4025-2FDC-45E9-A865-75E2F1E8AF74}" type="sibTrans" cxnId="{904F03CB-8695-4709-BF4D-C30E353631B8}">
      <dgm:prSet/>
      <dgm:spPr/>
      <dgm:t>
        <a:bodyPr/>
        <a:lstStyle/>
        <a:p>
          <a:endParaRPr lang="ru-RU"/>
        </a:p>
      </dgm:t>
    </dgm:pt>
    <dgm:pt modelId="{7FBFF036-34D4-429C-BAFA-ED9C6140783D}">
      <dgm:prSet/>
      <dgm:spPr/>
      <dgm:t>
        <a:bodyPr/>
        <a:lstStyle/>
        <a:p>
          <a:r>
            <a:rPr lang="ru-RU" dirty="0"/>
            <a:t>Программа успешно апробирована в 2021/22 учебном году</a:t>
          </a:r>
        </a:p>
      </dgm:t>
    </dgm:pt>
    <dgm:pt modelId="{370ABE6C-B9C4-4B08-AEC7-93FE180AB1B6}" type="parTrans" cxnId="{0BBDABE7-27CC-4AF0-830A-EBD23DB698C4}">
      <dgm:prSet/>
      <dgm:spPr/>
      <dgm:t>
        <a:bodyPr/>
        <a:lstStyle/>
        <a:p>
          <a:endParaRPr lang="ru-RU"/>
        </a:p>
      </dgm:t>
    </dgm:pt>
    <dgm:pt modelId="{212B8527-FEC4-4DBA-8BD3-9B58FF10F99A}" type="sibTrans" cxnId="{0BBDABE7-27CC-4AF0-830A-EBD23DB698C4}">
      <dgm:prSet/>
      <dgm:spPr/>
      <dgm:t>
        <a:bodyPr/>
        <a:lstStyle/>
        <a:p>
          <a:endParaRPr lang="ru-RU"/>
        </a:p>
      </dgm:t>
    </dgm:pt>
    <dgm:pt modelId="{CDA5B5EE-BC82-4710-9BC0-1462E1049EBE}" type="pres">
      <dgm:prSet presAssocID="{7F257E75-6098-416E-8DD9-810B423CDB6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C1AAABE1-F428-4A5E-8CC2-078039D2FDEA}" type="pres">
      <dgm:prSet presAssocID="{07AF07DA-0065-483B-9349-E53BE799070B}" presName="parentText" presStyleLbl="node1" presStyleIdx="0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5CC670-2C8C-4C4D-A4EE-86E9DFB9277F}" type="pres">
      <dgm:prSet presAssocID="{05426D15-5659-4EA4-A054-CFC601C90996}" presName="spacer" presStyleCnt="0"/>
      <dgm:spPr/>
      <dgm:t>
        <a:bodyPr/>
        <a:lstStyle/>
        <a:p>
          <a:endParaRPr lang="ru-RU"/>
        </a:p>
      </dgm:t>
    </dgm:pt>
    <dgm:pt modelId="{C9872E15-07FE-49A6-A93F-E7686177A62A}" type="pres">
      <dgm:prSet presAssocID="{32C5C6CB-85AD-4B47-B375-21F3EAD1D5B2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C2CEFE3-16B9-499D-9BC7-5E8BDFF40B92}" type="pres">
      <dgm:prSet presAssocID="{8E195626-9E2A-46CD-A63C-78F1A0C3570E}" presName="spacer" presStyleCnt="0"/>
      <dgm:spPr/>
      <dgm:t>
        <a:bodyPr/>
        <a:lstStyle/>
        <a:p>
          <a:endParaRPr lang="ru-RU"/>
        </a:p>
      </dgm:t>
    </dgm:pt>
    <dgm:pt modelId="{817675FE-C508-449D-A573-399163F0F995}" type="pres">
      <dgm:prSet presAssocID="{A8374076-6839-40E0-9535-23987D62581B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A1395E6-A9BB-4359-A12C-2C460C1478AF}" type="pres">
      <dgm:prSet presAssocID="{FDFB4025-2FDC-45E9-A865-75E2F1E8AF74}" presName="spacer" presStyleCnt="0"/>
      <dgm:spPr/>
      <dgm:t>
        <a:bodyPr/>
        <a:lstStyle/>
        <a:p>
          <a:endParaRPr lang="ru-RU"/>
        </a:p>
      </dgm:t>
    </dgm:pt>
    <dgm:pt modelId="{2E83C8D9-5990-46A6-A293-576EEF6D5728}" type="pres">
      <dgm:prSet presAssocID="{7FBFF036-34D4-429C-BAFA-ED9C6140783D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04F03CB-8695-4709-BF4D-C30E353631B8}" srcId="{7F257E75-6098-416E-8DD9-810B423CDB6E}" destId="{A8374076-6839-40E0-9535-23987D62581B}" srcOrd="2" destOrd="0" parTransId="{5216AC1F-B16A-4574-83A9-2772EC79F8EE}" sibTransId="{FDFB4025-2FDC-45E9-A865-75E2F1E8AF74}"/>
    <dgm:cxn modelId="{0439F203-D897-4926-B5CA-0FA25144F30A}" type="presOf" srcId="{07AF07DA-0065-483B-9349-E53BE799070B}" destId="{C1AAABE1-F428-4A5E-8CC2-078039D2FDEA}" srcOrd="0" destOrd="0" presId="urn:microsoft.com/office/officeart/2005/8/layout/vList2"/>
    <dgm:cxn modelId="{B7DD92A1-DC4C-4A1E-BCE0-3F1BD421626A}" srcId="{7F257E75-6098-416E-8DD9-810B423CDB6E}" destId="{32C5C6CB-85AD-4B47-B375-21F3EAD1D5B2}" srcOrd="1" destOrd="0" parTransId="{C24C53D4-5E39-4DC6-98A5-BF1779432831}" sibTransId="{8E195626-9E2A-46CD-A63C-78F1A0C3570E}"/>
    <dgm:cxn modelId="{AD4198FC-A496-4784-8C38-A666BAF47D4D}" type="presOf" srcId="{32C5C6CB-85AD-4B47-B375-21F3EAD1D5B2}" destId="{C9872E15-07FE-49A6-A93F-E7686177A62A}" srcOrd="0" destOrd="0" presId="urn:microsoft.com/office/officeart/2005/8/layout/vList2"/>
    <dgm:cxn modelId="{ADFEB59D-3835-4168-8CD7-3293B8CBF017}" type="presOf" srcId="{7F257E75-6098-416E-8DD9-810B423CDB6E}" destId="{CDA5B5EE-BC82-4710-9BC0-1462E1049EBE}" srcOrd="0" destOrd="0" presId="urn:microsoft.com/office/officeart/2005/8/layout/vList2"/>
    <dgm:cxn modelId="{BC1F7363-1AF5-4B3B-8692-3481973125B6}" srcId="{7F257E75-6098-416E-8DD9-810B423CDB6E}" destId="{07AF07DA-0065-483B-9349-E53BE799070B}" srcOrd="0" destOrd="0" parTransId="{A66528B0-343A-4D43-B361-93E77D8074DE}" sibTransId="{05426D15-5659-4EA4-A054-CFC601C90996}"/>
    <dgm:cxn modelId="{A857F2E3-404F-4610-86DE-5FB94ED29B55}" type="presOf" srcId="{7FBFF036-34D4-429C-BAFA-ED9C6140783D}" destId="{2E83C8D9-5990-46A6-A293-576EEF6D5728}" srcOrd="0" destOrd="0" presId="urn:microsoft.com/office/officeart/2005/8/layout/vList2"/>
    <dgm:cxn modelId="{4CFCECF0-4974-4396-9299-06FEBED01736}" type="presOf" srcId="{A8374076-6839-40E0-9535-23987D62581B}" destId="{817675FE-C508-449D-A573-399163F0F995}" srcOrd="0" destOrd="0" presId="urn:microsoft.com/office/officeart/2005/8/layout/vList2"/>
    <dgm:cxn modelId="{0BBDABE7-27CC-4AF0-830A-EBD23DB698C4}" srcId="{7F257E75-6098-416E-8DD9-810B423CDB6E}" destId="{7FBFF036-34D4-429C-BAFA-ED9C6140783D}" srcOrd="3" destOrd="0" parTransId="{370ABE6C-B9C4-4B08-AEC7-93FE180AB1B6}" sibTransId="{212B8527-FEC4-4DBA-8BD3-9B58FF10F99A}"/>
    <dgm:cxn modelId="{CFE9E348-4C0A-45B1-B73D-4F4AAB751E9C}" type="presParOf" srcId="{CDA5B5EE-BC82-4710-9BC0-1462E1049EBE}" destId="{C1AAABE1-F428-4A5E-8CC2-078039D2FDEA}" srcOrd="0" destOrd="0" presId="urn:microsoft.com/office/officeart/2005/8/layout/vList2"/>
    <dgm:cxn modelId="{62904121-9462-4CB1-802C-3B387667C034}" type="presParOf" srcId="{CDA5B5EE-BC82-4710-9BC0-1462E1049EBE}" destId="{E15CC670-2C8C-4C4D-A4EE-86E9DFB9277F}" srcOrd="1" destOrd="0" presId="urn:microsoft.com/office/officeart/2005/8/layout/vList2"/>
    <dgm:cxn modelId="{B199113C-7986-4552-8585-EE4D142EA049}" type="presParOf" srcId="{CDA5B5EE-BC82-4710-9BC0-1462E1049EBE}" destId="{C9872E15-07FE-49A6-A93F-E7686177A62A}" srcOrd="2" destOrd="0" presId="urn:microsoft.com/office/officeart/2005/8/layout/vList2"/>
    <dgm:cxn modelId="{18C94AE8-6C1E-44D3-87C1-0D9006A7AD71}" type="presParOf" srcId="{CDA5B5EE-BC82-4710-9BC0-1462E1049EBE}" destId="{1C2CEFE3-16B9-499D-9BC7-5E8BDFF40B92}" srcOrd="3" destOrd="0" presId="urn:microsoft.com/office/officeart/2005/8/layout/vList2"/>
    <dgm:cxn modelId="{A1742AEB-EFF7-4DC4-99C2-FFE160E0A810}" type="presParOf" srcId="{CDA5B5EE-BC82-4710-9BC0-1462E1049EBE}" destId="{817675FE-C508-449D-A573-399163F0F995}" srcOrd="4" destOrd="0" presId="urn:microsoft.com/office/officeart/2005/8/layout/vList2"/>
    <dgm:cxn modelId="{7E35C877-07B7-4EA2-B130-D5B3B4CC42A1}" type="presParOf" srcId="{CDA5B5EE-BC82-4710-9BC0-1462E1049EBE}" destId="{EA1395E6-A9BB-4359-A12C-2C460C1478AF}" srcOrd="5" destOrd="0" presId="urn:microsoft.com/office/officeart/2005/8/layout/vList2"/>
    <dgm:cxn modelId="{AC86667E-079A-4085-977D-70EAE32198EC}" type="presParOf" srcId="{CDA5B5EE-BC82-4710-9BC0-1462E1049EBE}" destId="{2E83C8D9-5990-46A6-A293-576EEF6D5728}" srcOrd="6" destOrd="0" presId="urn:microsoft.com/office/officeart/2005/8/layout/vList2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B37694D-5287-4C7E-BD6A-78DF8F244835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3FB76B24-E774-476F-82F7-16620F606F42}">
      <dgm:prSet/>
      <dgm:spPr/>
      <dgm:t>
        <a:bodyPr/>
        <a:lstStyle/>
        <a:p>
          <a:r>
            <a:rPr lang="ru-RU" dirty="0"/>
            <a:t>Математика – 844 (96%)</a:t>
          </a:r>
        </a:p>
      </dgm:t>
    </dgm:pt>
    <dgm:pt modelId="{82BCBEAD-B429-4018-B03B-A424DC4158C0}" type="parTrans" cxnId="{7771AFAB-674B-418D-B6BF-D0EECD0D511B}">
      <dgm:prSet/>
      <dgm:spPr/>
      <dgm:t>
        <a:bodyPr/>
        <a:lstStyle/>
        <a:p>
          <a:endParaRPr lang="ru-RU"/>
        </a:p>
      </dgm:t>
    </dgm:pt>
    <dgm:pt modelId="{0B5FCE24-0FD2-4290-9E85-D3494E243C3F}" type="sibTrans" cxnId="{7771AFAB-674B-418D-B6BF-D0EECD0D511B}">
      <dgm:prSet/>
      <dgm:spPr/>
      <dgm:t>
        <a:bodyPr/>
        <a:lstStyle/>
        <a:p>
          <a:endParaRPr lang="ru-RU"/>
        </a:p>
      </dgm:t>
    </dgm:pt>
    <dgm:pt modelId="{A1E85BA8-0748-4807-A4BF-40B01DE4B4AD}">
      <dgm:prSet/>
      <dgm:spPr/>
      <dgm:t>
        <a:bodyPr/>
        <a:lstStyle/>
        <a:p>
          <a:r>
            <a:rPr lang="ru-RU" dirty="0"/>
            <a:t>Физика – 787 (89%)</a:t>
          </a:r>
        </a:p>
      </dgm:t>
    </dgm:pt>
    <dgm:pt modelId="{BD162BFF-F36D-43EB-9772-0C8B1ADDC6E0}" type="parTrans" cxnId="{F7C8FCFA-3273-4410-8C59-4C0533CB6CB9}">
      <dgm:prSet/>
      <dgm:spPr/>
      <dgm:t>
        <a:bodyPr/>
        <a:lstStyle/>
        <a:p>
          <a:endParaRPr lang="ru-RU"/>
        </a:p>
      </dgm:t>
    </dgm:pt>
    <dgm:pt modelId="{5584D2F1-E80B-4579-BDE6-D9D45B951D5F}" type="sibTrans" cxnId="{F7C8FCFA-3273-4410-8C59-4C0533CB6CB9}">
      <dgm:prSet/>
      <dgm:spPr/>
      <dgm:t>
        <a:bodyPr/>
        <a:lstStyle/>
        <a:p>
          <a:endParaRPr lang="ru-RU"/>
        </a:p>
      </dgm:t>
    </dgm:pt>
    <dgm:pt modelId="{F95757D1-45BD-4FE5-A7FA-3F45732568F0}">
      <dgm:prSet/>
      <dgm:spPr/>
      <dgm:t>
        <a:bodyPr/>
        <a:lstStyle/>
        <a:p>
          <a:r>
            <a:rPr lang="ru-RU" dirty="0"/>
            <a:t>Химия – 273 (49%)</a:t>
          </a:r>
        </a:p>
      </dgm:t>
    </dgm:pt>
    <dgm:pt modelId="{6BD3C7A7-C59F-4788-873D-C9AE461A89A3}" type="parTrans" cxnId="{81A87A94-F58C-48DB-8C09-850875A6E658}">
      <dgm:prSet/>
      <dgm:spPr/>
      <dgm:t>
        <a:bodyPr/>
        <a:lstStyle/>
        <a:p>
          <a:endParaRPr lang="ru-RU"/>
        </a:p>
      </dgm:t>
    </dgm:pt>
    <dgm:pt modelId="{DD403CA3-A715-4ED8-931F-F7FC0F3CAD79}" type="sibTrans" cxnId="{81A87A94-F58C-48DB-8C09-850875A6E658}">
      <dgm:prSet/>
      <dgm:spPr/>
      <dgm:t>
        <a:bodyPr/>
        <a:lstStyle/>
        <a:p>
          <a:endParaRPr lang="ru-RU"/>
        </a:p>
      </dgm:t>
    </dgm:pt>
    <dgm:pt modelId="{5B384C16-8AC0-4CB0-A560-E574C3CE01C8}" type="pres">
      <dgm:prSet presAssocID="{2B37694D-5287-4C7E-BD6A-78DF8F244835}" presName="Name0" presStyleCnt="0">
        <dgm:presLayoutVars>
          <dgm:dir/>
        </dgm:presLayoutVars>
      </dgm:prSet>
      <dgm:spPr/>
      <dgm:t>
        <a:bodyPr/>
        <a:lstStyle/>
        <a:p>
          <a:endParaRPr lang="ru-RU"/>
        </a:p>
      </dgm:t>
    </dgm:pt>
    <dgm:pt modelId="{47783640-38CF-4359-81F2-F6AD41BC48DF}" type="pres">
      <dgm:prSet presAssocID="{3FB76B24-E774-476F-82F7-16620F606F42}" presName="noChildren" presStyleCnt="0"/>
      <dgm:spPr/>
    </dgm:pt>
    <dgm:pt modelId="{7F68F72D-9A11-4328-A593-D5FB5C83CCCE}" type="pres">
      <dgm:prSet presAssocID="{3FB76B24-E774-476F-82F7-16620F606F42}" presName="gap" presStyleCnt="0"/>
      <dgm:spPr/>
    </dgm:pt>
    <dgm:pt modelId="{CF26461F-F46B-445C-8F52-D732D0767B3C}" type="pres">
      <dgm:prSet presAssocID="{3FB76B24-E774-476F-82F7-16620F606F42}" presName="medCircle2" presStyleLbl="vennNode1" presStyleIdx="0" presStyleCnt="3"/>
      <dgm:spPr/>
    </dgm:pt>
    <dgm:pt modelId="{917995CE-E92F-47F6-92CB-1FB5F2284E62}" type="pres">
      <dgm:prSet presAssocID="{3FB76B24-E774-476F-82F7-16620F606F42}" presName="txLvlOnly1" presStyleLbl="revTx" presStyleIdx="0" presStyleCnt="3"/>
      <dgm:spPr/>
      <dgm:t>
        <a:bodyPr/>
        <a:lstStyle/>
        <a:p>
          <a:endParaRPr lang="ru-RU"/>
        </a:p>
      </dgm:t>
    </dgm:pt>
    <dgm:pt modelId="{22956788-910E-4FB1-94C3-AC30472E9992}" type="pres">
      <dgm:prSet presAssocID="{A1E85BA8-0748-4807-A4BF-40B01DE4B4AD}" presName="noChildren" presStyleCnt="0"/>
      <dgm:spPr/>
    </dgm:pt>
    <dgm:pt modelId="{1494B9CB-A493-4561-8A80-4062D5DAF97E}" type="pres">
      <dgm:prSet presAssocID="{A1E85BA8-0748-4807-A4BF-40B01DE4B4AD}" presName="gap" presStyleCnt="0"/>
      <dgm:spPr/>
    </dgm:pt>
    <dgm:pt modelId="{AD5FB789-ABD6-4A9E-BE4F-0946BDE72D29}" type="pres">
      <dgm:prSet presAssocID="{A1E85BA8-0748-4807-A4BF-40B01DE4B4AD}" presName="medCircle2" presStyleLbl="vennNode1" presStyleIdx="1" presStyleCnt="3"/>
      <dgm:spPr/>
    </dgm:pt>
    <dgm:pt modelId="{8AB7836C-6D85-4A8E-BB74-5F9141C9CF4E}" type="pres">
      <dgm:prSet presAssocID="{A1E85BA8-0748-4807-A4BF-40B01DE4B4AD}" presName="txLvlOnly1" presStyleLbl="revTx" presStyleIdx="1" presStyleCnt="3"/>
      <dgm:spPr/>
      <dgm:t>
        <a:bodyPr/>
        <a:lstStyle/>
        <a:p>
          <a:endParaRPr lang="ru-RU"/>
        </a:p>
      </dgm:t>
    </dgm:pt>
    <dgm:pt modelId="{D093F887-807E-4D40-9C3A-AF1DB321FB9E}" type="pres">
      <dgm:prSet presAssocID="{F95757D1-45BD-4FE5-A7FA-3F45732568F0}" presName="noChildren" presStyleCnt="0"/>
      <dgm:spPr/>
    </dgm:pt>
    <dgm:pt modelId="{B33F8B8F-C54C-4B7F-B931-78143B6B012C}" type="pres">
      <dgm:prSet presAssocID="{F95757D1-45BD-4FE5-A7FA-3F45732568F0}" presName="gap" presStyleCnt="0"/>
      <dgm:spPr/>
    </dgm:pt>
    <dgm:pt modelId="{8081FED3-C030-4FF5-B560-C475583172F7}" type="pres">
      <dgm:prSet presAssocID="{F95757D1-45BD-4FE5-A7FA-3F45732568F0}" presName="medCircle2" presStyleLbl="vennNode1" presStyleIdx="2" presStyleCnt="3"/>
      <dgm:spPr/>
    </dgm:pt>
    <dgm:pt modelId="{D626779D-D5CD-4251-9642-4A620F582BFD}" type="pres">
      <dgm:prSet presAssocID="{F95757D1-45BD-4FE5-A7FA-3F45732568F0}" presName="txLvlOnly1" presStyleLbl="revTx" presStyleIdx="2" presStyleCnt="3"/>
      <dgm:spPr/>
      <dgm:t>
        <a:bodyPr/>
        <a:lstStyle/>
        <a:p>
          <a:endParaRPr lang="ru-RU"/>
        </a:p>
      </dgm:t>
    </dgm:pt>
  </dgm:ptLst>
  <dgm:cxnLst>
    <dgm:cxn modelId="{1B2230A1-613A-4975-98B4-1FE48BA44AE1}" type="presOf" srcId="{3FB76B24-E774-476F-82F7-16620F606F42}" destId="{917995CE-E92F-47F6-92CB-1FB5F2284E62}" srcOrd="0" destOrd="0" presId="urn:microsoft.com/office/officeart/2008/layout/VerticalCircleList"/>
    <dgm:cxn modelId="{7E519DA1-AF44-4F5A-AFB7-DB7C4E25F24D}" type="presOf" srcId="{A1E85BA8-0748-4807-A4BF-40B01DE4B4AD}" destId="{8AB7836C-6D85-4A8E-BB74-5F9141C9CF4E}" srcOrd="0" destOrd="0" presId="urn:microsoft.com/office/officeart/2008/layout/VerticalCircleList"/>
    <dgm:cxn modelId="{7771AFAB-674B-418D-B6BF-D0EECD0D511B}" srcId="{2B37694D-5287-4C7E-BD6A-78DF8F244835}" destId="{3FB76B24-E774-476F-82F7-16620F606F42}" srcOrd="0" destOrd="0" parTransId="{82BCBEAD-B429-4018-B03B-A424DC4158C0}" sibTransId="{0B5FCE24-0FD2-4290-9E85-D3494E243C3F}"/>
    <dgm:cxn modelId="{CEBEAC3F-9EED-4B82-B9F9-231D859B75E2}" type="presOf" srcId="{F95757D1-45BD-4FE5-A7FA-3F45732568F0}" destId="{D626779D-D5CD-4251-9642-4A620F582BFD}" srcOrd="0" destOrd="0" presId="urn:microsoft.com/office/officeart/2008/layout/VerticalCircleList"/>
    <dgm:cxn modelId="{99297846-4466-46C4-9797-52700844A401}" type="presOf" srcId="{2B37694D-5287-4C7E-BD6A-78DF8F244835}" destId="{5B384C16-8AC0-4CB0-A560-E574C3CE01C8}" srcOrd="0" destOrd="0" presId="urn:microsoft.com/office/officeart/2008/layout/VerticalCircleList"/>
    <dgm:cxn modelId="{81A87A94-F58C-48DB-8C09-850875A6E658}" srcId="{2B37694D-5287-4C7E-BD6A-78DF8F244835}" destId="{F95757D1-45BD-4FE5-A7FA-3F45732568F0}" srcOrd="2" destOrd="0" parTransId="{6BD3C7A7-C59F-4788-873D-C9AE461A89A3}" sibTransId="{DD403CA3-A715-4ED8-931F-F7FC0F3CAD79}"/>
    <dgm:cxn modelId="{F7C8FCFA-3273-4410-8C59-4C0533CB6CB9}" srcId="{2B37694D-5287-4C7E-BD6A-78DF8F244835}" destId="{A1E85BA8-0748-4807-A4BF-40B01DE4B4AD}" srcOrd="1" destOrd="0" parTransId="{BD162BFF-F36D-43EB-9772-0C8B1ADDC6E0}" sibTransId="{5584D2F1-E80B-4579-BDE6-D9D45B951D5F}"/>
    <dgm:cxn modelId="{41CBBCD8-1E38-47B3-A6C2-4F4391C81A33}" type="presParOf" srcId="{5B384C16-8AC0-4CB0-A560-E574C3CE01C8}" destId="{47783640-38CF-4359-81F2-F6AD41BC48DF}" srcOrd="0" destOrd="0" presId="urn:microsoft.com/office/officeart/2008/layout/VerticalCircleList"/>
    <dgm:cxn modelId="{7D1AF1FD-AD91-4AC8-B759-396AA084943C}" type="presParOf" srcId="{47783640-38CF-4359-81F2-F6AD41BC48DF}" destId="{7F68F72D-9A11-4328-A593-D5FB5C83CCCE}" srcOrd="0" destOrd="0" presId="urn:microsoft.com/office/officeart/2008/layout/VerticalCircleList"/>
    <dgm:cxn modelId="{154EA808-D063-47C3-8F1E-6C7E52EA8C20}" type="presParOf" srcId="{47783640-38CF-4359-81F2-F6AD41BC48DF}" destId="{CF26461F-F46B-445C-8F52-D732D0767B3C}" srcOrd="1" destOrd="0" presId="urn:microsoft.com/office/officeart/2008/layout/VerticalCircleList"/>
    <dgm:cxn modelId="{9B287A08-7971-47D0-8AC1-79047CBD931A}" type="presParOf" srcId="{47783640-38CF-4359-81F2-F6AD41BC48DF}" destId="{917995CE-E92F-47F6-92CB-1FB5F2284E62}" srcOrd="2" destOrd="0" presId="urn:microsoft.com/office/officeart/2008/layout/VerticalCircleList"/>
    <dgm:cxn modelId="{BEE32C31-43ED-41D6-88A3-2B03FE97A2B4}" type="presParOf" srcId="{5B384C16-8AC0-4CB0-A560-E574C3CE01C8}" destId="{22956788-910E-4FB1-94C3-AC30472E9992}" srcOrd="1" destOrd="0" presId="urn:microsoft.com/office/officeart/2008/layout/VerticalCircleList"/>
    <dgm:cxn modelId="{94CF2CB0-D701-4A7B-8DA6-6C86DBFEA7F9}" type="presParOf" srcId="{22956788-910E-4FB1-94C3-AC30472E9992}" destId="{1494B9CB-A493-4561-8A80-4062D5DAF97E}" srcOrd="0" destOrd="0" presId="urn:microsoft.com/office/officeart/2008/layout/VerticalCircleList"/>
    <dgm:cxn modelId="{75E6760F-A0B3-4721-942C-669FD647A175}" type="presParOf" srcId="{22956788-910E-4FB1-94C3-AC30472E9992}" destId="{AD5FB789-ABD6-4A9E-BE4F-0946BDE72D29}" srcOrd="1" destOrd="0" presId="urn:microsoft.com/office/officeart/2008/layout/VerticalCircleList"/>
    <dgm:cxn modelId="{0E96D958-35E8-4B31-AB96-997DFE607DDD}" type="presParOf" srcId="{22956788-910E-4FB1-94C3-AC30472E9992}" destId="{8AB7836C-6D85-4A8E-BB74-5F9141C9CF4E}" srcOrd="2" destOrd="0" presId="urn:microsoft.com/office/officeart/2008/layout/VerticalCircleList"/>
    <dgm:cxn modelId="{647403FF-0A92-4C0C-835F-65E8618D65A7}" type="presParOf" srcId="{5B384C16-8AC0-4CB0-A560-E574C3CE01C8}" destId="{D093F887-807E-4D40-9C3A-AF1DB321FB9E}" srcOrd="2" destOrd="0" presId="urn:microsoft.com/office/officeart/2008/layout/VerticalCircleList"/>
    <dgm:cxn modelId="{C901E60D-4144-4707-BFE0-FC7360E1E39B}" type="presParOf" srcId="{D093F887-807E-4D40-9C3A-AF1DB321FB9E}" destId="{B33F8B8F-C54C-4B7F-B931-78143B6B012C}" srcOrd="0" destOrd="0" presId="urn:microsoft.com/office/officeart/2008/layout/VerticalCircleList"/>
    <dgm:cxn modelId="{B2330876-54D9-43D9-AD2E-BB22DCF8F127}" type="presParOf" srcId="{D093F887-807E-4D40-9C3A-AF1DB321FB9E}" destId="{8081FED3-C030-4FF5-B560-C475583172F7}" srcOrd="1" destOrd="0" presId="urn:microsoft.com/office/officeart/2008/layout/VerticalCircleList"/>
    <dgm:cxn modelId="{190E1A1D-F709-4323-9985-213CD4259A7B}" type="presParOf" srcId="{D093F887-807E-4D40-9C3A-AF1DB321FB9E}" destId="{D626779D-D5CD-4251-9642-4A620F582BFD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51AFC84-32C7-4D1E-B88D-A7ACA0F9622F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5775F63-8552-4810-A2A2-2F7CD58CF7DA}">
      <dgm:prSet/>
      <dgm:spPr/>
      <dgm:t>
        <a:bodyPr/>
        <a:lstStyle/>
        <a:p>
          <a:r>
            <a:rPr lang="ru-RU" b="1" dirty="0"/>
            <a:t>Зачислено – </a:t>
          </a:r>
          <a:r>
            <a:rPr lang="ru-RU" b="1" dirty="0" smtClean="0"/>
            <a:t>878</a:t>
          </a:r>
          <a:endParaRPr lang="ru-RU" dirty="0"/>
        </a:p>
      </dgm:t>
    </dgm:pt>
    <dgm:pt modelId="{347C0282-ACBA-4CD4-9C97-637CDA3B574E}" type="parTrans" cxnId="{099104A3-882A-45EC-882D-CDA388DE34F2}">
      <dgm:prSet/>
      <dgm:spPr/>
      <dgm:t>
        <a:bodyPr/>
        <a:lstStyle/>
        <a:p>
          <a:endParaRPr lang="ru-RU"/>
        </a:p>
      </dgm:t>
    </dgm:pt>
    <dgm:pt modelId="{4073FF0E-64B8-41A8-901E-BE587DA188B1}" type="sibTrans" cxnId="{099104A3-882A-45EC-882D-CDA388DE34F2}">
      <dgm:prSet/>
      <dgm:spPr/>
      <dgm:t>
        <a:bodyPr/>
        <a:lstStyle/>
        <a:p>
          <a:endParaRPr lang="ru-RU"/>
        </a:p>
      </dgm:t>
    </dgm:pt>
    <dgm:pt modelId="{80A8CD06-8657-4350-BC23-B090AD0D1463}" type="pres">
      <dgm:prSet presAssocID="{351AFC84-32C7-4D1E-B88D-A7ACA0F9622F}" presName="Name0" presStyleCnt="0">
        <dgm:presLayoutVars>
          <dgm:dir/>
        </dgm:presLayoutVars>
      </dgm:prSet>
      <dgm:spPr/>
      <dgm:t>
        <a:bodyPr/>
        <a:lstStyle/>
        <a:p>
          <a:endParaRPr lang="ru-RU"/>
        </a:p>
      </dgm:t>
    </dgm:pt>
    <dgm:pt modelId="{903F725B-DD20-455B-97D8-B201B2E79D9C}" type="pres">
      <dgm:prSet presAssocID="{B5775F63-8552-4810-A2A2-2F7CD58CF7DA}" presName="noChildren" presStyleCnt="0"/>
      <dgm:spPr/>
    </dgm:pt>
    <dgm:pt modelId="{6FB3F531-22EC-444B-BE9A-3BDA59F84885}" type="pres">
      <dgm:prSet presAssocID="{B5775F63-8552-4810-A2A2-2F7CD58CF7DA}" presName="gap" presStyleCnt="0"/>
      <dgm:spPr/>
    </dgm:pt>
    <dgm:pt modelId="{02D3A3C9-2AD8-4EE6-8078-7F74FBB4290A}" type="pres">
      <dgm:prSet presAssocID="{B5775F63-8552-4810-A2A2-2F7CD58CF7DA}" presName="medCircle2" presStyleLbl="vennNode1" presStyleIdx="0" presStyleCnt="1"/>
      <dgm:spPr/>
    </dgm:pt>
    <dgm:pt modelId="{9672F025-A0B0-4A91-A90E-B82B96CBC431}" type="pres">
      <dgm:prSet presAssocID="{B5775F63-8552-4810-A2A2-2F7CD58CF7DA}" presName="txLvlOnly1" presStyleLbl="revTx" presStyleIdx="0" presStyleCnt="1"/>
      <dgm:spPr/>
      <dgm:t>
        <a:bodyPr/>
        <a:lstStyle/>
        <a:p>
          <a:endParaRPr lang="ru-RU"/>
        </a:p>
      </dgm:t>
    </dgm:pt>
  </dgm:ptLst>
  <dgm:cxnLst>
    <dgm:cxn modelId="{099104A3-882A-45EC-882D-CDA388DE34F2}" srcId="{351AFC84-32C7-4D1E-B88D-A7ACA0F9622F}" destId="{B5775F63-8552-4810-A2A2-2F7CD58CF7DA}" srcOrd="0" destOrd="0" parTransId="{347C0282-ACBA-4CD4-9C97-637CDA3B574E}" sibTransId="{4073FF0E-64B8-41A8-901E-BE587DA188B1}"/>
    <dgm:cxn modelId="{5498D658-7EA4-4044-AF76-FD4B3F7EBF37}" type="presOf" srcId="{B5775F63-8552-4810-A2A2-2F7CD58CF7DA}" destId="{9672F025-A0B0-4A91-A90E-B82B96CBC431}" srcOrd="0" destOrd="0" presId="urn:microsoft.com/office/officeart/2008/layout/VerticalCircleList"/>
    <dgm:cxn modelId="{2441BF77-8441-468A-8CE3-5326B81DDA8A}" type="presOf" srcId="{351AFC84-32C7-4D1E-B88D-A7ACA0F9622F}" destId="{80A8CD06-8657-4350-BC23-B090AD0D1463}" srcOrd="0" destOrd="0" presId="urn:microsoft.com/office/officeart/2008/layout/VerticalCircleList"/>
    <dgm:cxn modelId="{D9594E07-357A-47C9-ABE5-F670D6943937}" type="presParOf" srcId="{80A8CD06-8657-4350-BC23-B090AD0D1463}" destId="{903F725B-DD20-455B-97D8-B201B2E79D9C}" srcOrd="0" destOrd="0" presId="urn:microsoft.com/office/officeart/2008/layout/VerticalCircleList"/>
    <dgm:cxn modelId="{04410C92-320E-45A4-AE63-97BBEFBB00E2}" type="presParOf" srcId="{903F725B-DD20-455B-97D8-B201B2E79D9C}" destId="{6FB3F531-22EC-444B-BE9A-3BDA59F84885}" srcOrd="0" destOrd="0" presId="urn:microsoft.com/office/officeart/2008/layout/VerticalCircleList"/>
    <dgm:cxn modelId="{F9214568-8CD2-4350-ACC6-3CEBC4F05052}" type="presParOf" srcId="{903F725B-DD20-455B-97D8-B201B2E79D9C}" destId="{02D3A3C9-2AD8-4EE6-8078-7F74FBB4290A}" srcOrd="1" destOrd="0" presId="urn:microsoft.com/office/officeart/2008/layout/VerticalCircleList"/>
    <dgm:cxn modelId="{C1668423-E7EF-4D84-83EF-DEEDF12E16C8}" type="presParOf" srcId="{903F725B-DD20-455B-97D8-B201B2E79D9C}" destId="{9672F025-A0B0-4A91-A90E-B82B96CBC431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51AFC84-32C7-4D1E-B88D-A7ACA0F9622F}" type="doc">
      <dgm:prSet loTypeId="urn:microsoft.com/office/officeart/2008/layout/VerticalCircle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5775F63-8552-4810-A2A2-2F7CD58CF7DA}">
      <dgm:prSet/>
      <dgm:spPr/>
      <dgm:t>
        <a:bodyPr/>
        <a:lstStyle/>
        <a:p>
          <a:r>
            <a:rPr lang="ru-RU" b="1" dirty="0" smtClean="0"/>
            <a:t>Переведены на следующий год – </a:t>
          </a:r>
          <a:r>
            <a:rPr lang="ru-RU" b="1" dirty="0"/>
            <a:t>679 (79</a:t>
          </a:r>
          <a:r>
            <a:rPr lang="ru-RU" b="1" dirty="0" smtClean="0"/>
            <a:t>%)</a:t>
          </a:r>
          <a:endParaRPr lang="ru-RU" dirty="0"/>
        </a:p>
      </dgm:t>
    </dgm:pt>
    <dgm:pt modelId="{347C0282-ACBA-4CD4-9C97-637CDA3B574E}" type="parTrans" cxnId="{099104A3-882A-45EC-882D-CDA388DE34F2}">
      <dgm:prSet/>
      <dgm:spPr/>
      <dgm:t>
        <a:bodyPr/>
        <a:lstStyle/>
        <a:p>
          <a:endParaRPr lang="ru-RU"/>
        </a:p>
      </dgm:t>
    </dgm:pt>
    <dgm:pt modelId="{4073FF0E-64B8-41A8-901E-BE587DA188B1}" type="sibTrans" cxnId="{099104A3-882A-45EC-882D-CDA388DE34F2}">
      <dgm:prSet/>
      <dgm:spPr/>
      <dgm:t>
        <a:bodyPr/>
        <a:lstStyle/>
        <a:p>
          <a:endParaRPr lang="ru-RU"/>
        </a:p>
      </dgm:t>
    </dgm:pt>
    <dgm:pt modelId="{80A8CD06-8657-4350-BC23-B090AD0D1463}" type="pres">
      <dgm:prSet presAssocID="{351AFC84-32C7-4D1E-B88D-A7ACA0F9622F}" presName="Name0" presStyleCnt="0">
        <dgm:presLayoutVars>
          <dgm:dir/>
        </dgm:presLayoutVars>
      </dgm:prSet>
      <dgm:spPr/>
      <dgm:t>
        <a:bodyPr/>
        <a:lstStyle/>
        <a:p>
          <a:endParaRPr lang="ru-RU"/>
        </a:p>
      </dgm:t>
    </dgm:pt>
    <dgm:pt modelId="{903F725B-DD20-455B-97D8-B201B2E79D9C}" type="pres">
      <dgm:prSet presAssocID="{B5775F63-8552-4810-A2A2-2F7CD58CF7DA}" presName="noChildren" presStyleCnt="0"/>
      <dgm:spPr/>
    </dgm:pt>
    <dgm:pt modelId="{6FB3F531-22EC-444B-BE9A-3BDA59F84885}" type="pres">
      <dgm:prSet presAssocID="{B5775F63-8552-4810-A2A2-2F7CD58CF7DA}" presName="gap" presStyleCnt="0"/>
      <dgm:spPr/>
    </dgm:pt>
    <dgm:pt modelId="{02D3A3C9-2AD8-4EE6-8078-7F74FBB4290A}" type="pres">
      <dgm:prSet presAssocID="{B5775F63-8552-4810-A2A2-2F7CD58CF7DA}" presName="medCircle2" presStyleLbl="vennNode1" presStyleIdx="0" presStyleCnt="1" custLinFactX="-100000" custLinFactNeighborX="-157120" custLinFactNeighborY="66"/>
      <dgm:spPr/>
    </dgm:pt>
    <dgm:pt modelId="{9672F025-A0B0-4A91-A90E-B82B96CBC431}" type="pres">
      <dgm:prSet presAssocID="{B5775F63-8552-4810-A2A2-2F7CD58CF7DA}" presName="txLvlOnly1" presStyleLbl="revTx" presStyleIdx="0" presStyleCnt="1" custScaleX="198319"/>
      <dgm:spPr/>
      <dgm:t>
        <a:bodyPr/>
        <a:lstStyle/>
        <a:p>
          <a:endParaRPr lang="ru-RU"/>
        </a:p>
      </dgm:t>
    </dgm:pt>
  </dgm:ptLst>
  <dgm:cxnLst>
    <dgm:cxn modelId="{099104A3-882A-45EC-882D-CDA388DE34F2}" srcId="{351AFC84-32C7-4D1E-B88D-A7ACA0F9622F}" destId="{B5775F63-8552-4810-A2A2-2F7CD58CF7DA}" srcOrd="0" destOrd="0" parTransId="{347C0282-ACBA-4CD4-9C97-637CDA3B574E}" sibTransId="{4073FF0E-64B8-41A8-901E-BE587DA188B1}"/>
    <dgm:cxn modelId="{5498D658-7EA4-4044-AF76-FD4B3F7EBF37}" type="presOf" srcId="{B5775F63-8552-4810-A2A2-2F7CD58CF7DA}" destId="{9672F025-A0B0-4A91-A90E-B82B96CBC431}" srcOrd="0" destOrd="0" presId="urn:microsoft.com/office/officeart/2008/layout/VerticalCircleList"/>
    <dgm:cxn modelId="{2441BF77-8441-468A-8CE3-5326B81DDA8A}" type="presOf" srcId="{351AFC84-32C7-4D1E-B88D-A7ACA0F9622F}" destId="{80A8CD06-8657-4350-BC23-B090AD0D1463}" srcOrd="0" destOrd="0" presId="urn:microsoft.com/office/officeart/2008/layout/VerticalCircleList"/>
    <dgm:cxn modelId="{D9594E07-357A-47C9-ABE5-F670D6943937}" type="presParOf" srcId="{80A8CD06-8657-4350-BC23-B090AD0D1463}" destId="{903F725B-DD20-455B-97D8-B201B2E79D9C}" srcOrd="0" destOrd="0" presId="urn:microsoft.com/office/officeart/2008/layout/VerticalCircleList"/>
    <dgm:cxn modelId="{04410C92-320E-45A4-AE63-97BBEFBB00E2}" type="presParOf" srcId="{903F725B-DD20-455B-97D8-B201B2E79D9C}" destId="{6FB3F531-22EC-444B-BE9A-3BDA59F84885}" srcOrd="0" destOrd="0" presId="urn:microsoft.com/office/officeart/2008/layout/VerticalCircleList"/>
    <dgm:cxn modelId="{F9214568-8CD2-4350-ACC6-3CEBC4F05052}" type="presParOf" srcId="{903F725B-DD20-455B-97D8-B201B2E79D9C}" destId="{02D3A3C9-2AD8-4EE6-8078-7F74FBB4290A}" srcOrd="1" destOrd="0" presId="urn:microsoft.com/office/officeart/2008/layout/VerticalCircleList"/>
    <dgm:cxn modelId="{C1668423-E7EF-4D84-83EF-DEEDF12E16C8}" type="presParOf" srcId="{903F725B-DD20-455B-97D8-B201B2E79D9C}" destId="{9672F025-A0B0-4A91-A90E-B82B96CBC431}" srcOrd="2" destOrd="0" presId="urn:microsoft.com/office/officeart/2008/layout/VerticalCircleList"/>
  </dgm:cxnLst>
  <dgm:bg/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9BA2F822-9BFB-4340-AE47-719FCF88AF89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C41BF0E-057B-42F5-B201-AA339BA15772}">
      <dgm:prSet phldrT="[Текст]"/>
      <dgm:spPr/>
      <dgm:t>
        <a:bodyPr/>
        <a:lstStyle/>
        <a:p>
          <a:r>
            <a:rPr lang="ru-RU" dirty="0"/>
            <a:t>Математика</a:t>
          </a:r>
        </a:p>
      </dgm:t>
    </dgm:pt>
    <dgm:pt modelId="{FC540BE6-B971-47BD-B591-DC8EBEFB70BE}" type="parTrans" cxnId="{7C0F2A9B-5521-4400-B3ED-F5EF867A497B}">
      <dgm:prSet/>
      <dgm:spPr/>
      <dgm:t>
        <a:bodyPr/>
        <a:lstStyle/>
        <a:p>
          <a:endParaRPr lang="ru-RU"/>
        </a:p>
      </dgm:t>
    </dgm:pt>
    <dgm:pt modelId="{9AEBD5E3-B5C0-49EC-B8C3-373E578CED02}" type="sibTrans" cxnId="{7C0F2A9B-5521-4400-B3ED-F5EF867A497B}">
      <dgm:prSet/>
      <dgm:spPr/>
      <dgm:t>
        <a:bodyPr/>
        <a:lstStyle/>
        <a:p>
          <a:endParaRPr lang="ru-RU"/>
        </a:p>
      </dgm:t>
    </dgm:pt>
    <dgm:pt modelId="{E1B847DB-E8E8-428A-8D04-353F95976753}">
      <dgm:prSet phldrT="[Текст]"/>
      <dgm:spPr/>
      <dgm:t>
        <a:bodyPr/>
        <a:lstStyle/>
        <a:p>
          <a:r>
            <a:rPr lang="ru-RU" dirty="0"/>
            <a:t>Математика </a:t>
          </a:r>
          <a:r>
            <a:rPr lang="ru-RU" dirty="0" smtClean="0"/>
            <a:t>Базовый</a:t>
          </a:r>
          <a:endParaRPr lang="ru-RU" dirty="0"/>
        </a:p>
      </dgm:t>
    </dgm:pt>
    <dgm:pt modelId="{BA16387F-C3AC-4FB8-BB47-4F1488528059}" type="parTrans" cxnId="{2EB70464-18AB-4B4F-894E-8B30CC9C59AE}">
      <dgm:prSet/>
      <dgm:spPr/>
      <dgm:t>
        <a:bodyPr/>
        <a:lstStyle/>
        <a:p>
          <a:endParaRPr lang="ru-RU"/>
        </a:p>
      </dgm:t>
    </dgm:pt>
    <dgm:pt modelId="{FD31E17E-25DE-4021-B712-F2C953E0006B}" type="sibTrans" cxnId="{2EB70464-18AB-4B4F-894E-8B30CC9C59AE}">
      <dgm:prSet/>
      <dgm:spPr/>
      <dgm:t>
        <a:bodyPr/>
        <a:lstStyle/>
        <a:p>
          <a:endParaRPr lang="ru-RU"/>
        </a:p>
      </dgm:t>
    </dgm:pt>
    <dgm:pt modelId="{0CFB265A-3944-45F6-BB67-777B20BEBDB2}">
      <dgm:prSet phldrT="[Текст]"/>
      <dgm:spPr/>
      <dgm:t>
        <a:bodyPr/>
        <a:lstStyle/>
        <a:p>
          <a:r>
            <a:rPr lang="ru-RU" dirty="0"/>
            <a:t>Физика</a:t>
          </a:r>
          <a:endParaRPr lang="ru-RU" u="none" dirty="0"/>
        </a:p>
      </dgm:t>
    </dgm:pt>
    <dgm:pt modelId="{E8EEC7C5-C639-4F4B-9BC6-5BA162D9EA46}" type="parTrans" cxnId="{EA25A768-55A3-4287-AE9C-0B639241380F}">
      <dgm:prSet/>
      <dgm:spPr/>
      <dgm:t>
        <a:bodyPr/>
        <a:lstStyle/>
        <a:p>
          <a:endParaRPr lang="ru-RU"/>
        </a:p>
      </dgm:t>
    </dgm:pt>
    <dgm:pt modelId="{23B0C919-5444-43E4-BF4F-12732155667D}" type="sibTrans" cxnId="{EA25A768-55A3-4287-AE9C-0B639241380F}">
      <dgm:prSet/>
      <dgm:spPr/>
      <dgm:t>
        <a:bodyPr/>
        <a:lstStyle/>
        <a:p>
          <a:endParaRPr lang="ru-RU"/>
        </a:p>
      </dgm:t>
    </dgm:pt>
    <dgm:pt modelId="{E5FF74EC-5BC8-42F0-B084-BDF5DB9FDD3A}">
      <dgm:prSet phldrT="[Текст]"/>
      <dgm:spPr/>
      <dgm:t>
        <a:bodyPr/>
        <a:lstStyle/>
        <a:p>
          <a:r>
            <a:rPr lang="ru-RU" dirty="0"/>
            <a:t>Физика </a:t>
          </a:r>
          <a:r>
            <a:rPr lang="ru-RU" dirty="0" smtClean="0"/>
            <a:t>Базовый</a:t>
          </a:r>
          <a:endParaRPr lang="ru-RU" dirty="0"/>
        </a:p>
      </dgm:t>
    </dgm:pt>
    <dgm:pt modelId="{6E0E1491-88B6-4F53-9BAF-DB38DABC367A}" type="parTrans" cxnId="{B3F5783F-7950-4EB9-B9B2-BC986EE6B261}">
      <dgm:prSet/>
      <dgm:spPr/>
      <dgm:t>
        <a:bodyPr/>
        <a:lstStyle/>
        <a:p>
          <a:endParaRPr lang="ru-RU"/>
        </a:p>
      </dgm:t>
    </dgm:pt>
    <dgm:pt modelId="{79DE2C1B-F6F5-48DF-B903-5A3F1C00F3A3}" type="sibTrans" cxnId="{B3F5783F-7950-4EB9-B9B2-BC986EE6B261}">
      <dgm:prSet/>
      <dgm:spPr/>
      <dgm:t>
        <a:bodyPr/>
        <a:lstStyle/>
        <a:p>
          <a:endParaRPr lang="ru-RU"/>
        </a:p>
      </dgm:t>
    </dgm:pt>
    <dgm:pt modelId="{E93644CF-CB8C-4A41-8280-C6F9D39EBC14}">
      <dgm:prSet phldrT="[Текст]"/>
      <dgm:spPr/>
      <dgm:t>
        <a:bodyPr/>
        <a:lstStyle/>
        <a:p>
          <a:r>
            <a:rPr lang="ru-RU" dirty="0"/>
            <a:t>Химия</a:t>
          </a:r>
        </a:p>
      </dgm:t>
    </dgm:pt>
    <dgm:pt modelId="{40C294BF-54DC-4C18-96F9-6B5EFD81ABE4}" type="parTrans" cxnId="{1A8BC589-9776-4AC6-8C7B-DC96AC19C4A7}">
      <dgm:prSet/>
      <dgm:spPr/>
      <dgm:t>
        <a:bodyPr/>
        <a:lstStyle/>
        <a:p>
          <a:endParaRPr lang="ru-RU"/>
        </a:p>
      </dgm:t>
    </dgm:pt>
    <dgm:pt modelId="{92375939-A2B3-432F-85F9-054E843F6FF8}" type="sibTrans" cxnId="{1A8BC589-9776-4AC6-8C7B-DC96AC19C4A7}">
      <dgm:prSet/>
      <dgm:spPr/>
      <dgm:t>
        <a:bodyPr/>
        <a:lstStyle/>
        <a:p>
          <a:endParaRPr lang="ru-RU"/>
        </a:p>
      </dgm:t>
    </dgm:pt>
    <dgm:pt modelId="{BBD7A663-0411-4E00-B62D-561AC12CE922}">
      <dgm:prSet phldrT="[Текст]"/>
      <dgm:spPr/>
      <dgm:t>
        <a:bodyPr/>
        <a:lstStyle/>
        <a:p>
          <a:r>
            <a:rPr lang="ru-RU" dirty="0"/>
            <a:t>Химия Базовый </a:t>
          </a:r>
          <a:r>
            <a:rPr lang="ru-RU" dirty="0" smtClean="0"/>
            <a:t>8, 9 </a:t>
          </a:r>
          <a:r>
            <a:rPr lang="ru-RU" dirty="0"/>
            <a:t>класс</a:t>
          </a:r>
        </a:p>
      </dgm:t>
    </dgm:pt>
    <dgm:pt modelId="{085C5563-C2D2-4D78-9842-C7A7B21DE3EB}" type="parTrans" cxnId="{20FAD1F8-6D35-47D4-9FF9-D9124F877785}">
      <dgm:prSet/>
      <dgm:spPr/>
      <dgm:t>
        <a:bodyPr/>
        <a:lstStyle/>
        <a:p>
          <a:endParaRPr lang="ru-RU"/>
        </a:p>
      </dgm:t>
    </dgm:pt>
    <dgm:pt modelId="{EED46B1D-06B0-4270-87A9-96B11DC30209}" type="sibTrans" cxnId="{20FAD1F8-6D35-47D4-9FF9-D9124F877785}">
      <dgm:prSet/>
      <dgm:spPr/>
      <dgm:t>
        <a:bodyPr/>
        <a:lstStyle/>
        <a:p>
          <a:endParaRPr lang="ru-RU"/>
        </a:p>
      </dgm:t>
    </dgm:pt>
    <dgm:pt modelId="{1370799A-FC86-44E9-8BF6-B303B5B2C64C}">
      <dgm:prSet phldrT="[Текст]"/>
      <dgm:spPr/>
      <dgm:t>
        <a:bodyPr/>
        <a:lstStyle/>
        <a:p>
          <a:r>
            <a:rPr lang="ru-RU" dirty="0"/>
            <a:t>Химия </a:t>
          </a:r>
          <a:r>
            <a:rPr lang="ru-RU" dirty="0" smtClean="0"/>
            <a:t>Углубленный 10 класс</a:t>
          </a:r>
          <a:endParaRPr lang="ru-RU" dirty="0"/>
        </a:p>
      </dgm:t>
    </dgm:pt>
    <dgm:pt modelId="{F6BE44A1-EDC6-48C8-BDC1-892D07B3987C}" type="parTrans" cxnId="{02242BA0-7806-48FA-AD5F-98B3FCF17A8C}">
      <dgm:prSet/>
      <dgm:spPr/>
      <dgm:t>
        <a:bodyPr/>
        <a:lstStyle/>
        <a:p>
          <a:endParaRPr lang="ru-RU"/>
        </a:p>
      </dgm:t>
    </dgm:pt>
    <dgm:pt modelId="{A972BBE9-6EDB-4CE2-ABAB-D9A27D0C37CF}" type="sibTrans" cxnId="{02242BA0-7806-48FA-AD5F-98B3FCF17A8C}">
      <dgm:prSet/>
      <dgm:spPr/>
      <dgm:t>
        <a:bodyPr/>
        <a:lstStyle/>
        <a:p>
          <a:endParaRPr lang="ru-RU"/>
        </a:p>
      </dgm:t>
    </dgm:pt>
    <dgm:pt modelId="{3DD1C455-226A-4EAA-91EE-B9F485889389}">
      <dgm:prSet phldrT="[Текст]"/>
      <dgm:spPr/>
      <dgm:t>
        <a:bodyPr/>
        <a:lstStyle/>
        <a:p>
          <a:r>
            <a:rPr lang="ru-RU" dirty="0"/>
            <a:t>Математика </a:t>
          </a:r>
          <a:r>
            <a:rPr lang="ru-RU" dirty="0" smtClean="0"/>
            <a:t>- подготовка </a:t>
          </a:r>
          <a:r>
            <a:rPr lang="ru-RU" dirty="0"/>
            <a:t>к ЕГЭ 11 класс</a:t>
          </a:r>
        </a:p>
      </dgm:t>
    </dgm:pt>
    <dgm:pt modelId="{4D4136F9-4094-47ED-9422-C3594C3C65E6}" type="parTrans" cxnId="{4B535018-FF03-4600-95F4-8D488FBC9DFE}">
      <dgm:prSet/>
      <dgm:spPr/>
      <dgm:t>
        <a:bodyPr/>
        <a:lstStyle/>
        <a:p>
          <a:endParaRPr lang="ru-RU"/>
        </a:p>
      </dgm:t>
    </dgm:pt>
    <dgm:pt modelId="{CE532916-D3FB-4790-AF84-8E4A1D28C69B}" type="sibTrans" cxnId="{4B535018-FF03-4600-95F4-8D488FBC9DFE}">
      <dgm:prSet/>
      <dgm:spPr/>
      <dgm:t>
        <a:bodyPr/>
        <a:lstStyle/>
        <a:p>
          <a:endParaRPr lang="ru-RU"/>
        </a:p>
      </dgm:t>
    </dgm:pt>
    <dgm:pt modelId="{BAEA66FC-C0BA-4F00-AB58-8B2547A07896}">
      <dgm:prSet phldrT="[Текст]"/>
      <dgm:spPr/>
      <dgm:t>
        <a:bodyPr/>
        <a:lstStyle/>
        <a:p>
          <a:r>
            <a:rPr lang="ru-RU" dirty="0"/>
            <a:t>Физика </a:t>
          </a:r>
          <a:r>
            <a:rPr lang="ru-RU" dirty="0" smtClean="0"/>
            <a:t>- подготовка </a:t>
          </a:r>
          <a:r>
            <a:rPr lang="ru-RU" dirty="0"/>
            <a:t>к ЕГЭ 11 класс</a:t>
          </a:r>
        </a:p>
      </dgm:t>
    </dgm:pt>
    <dgm:pt modelId="{78A3242E-3DC8-4A50-B498-9849F7786F54}" type="parTrans" cxnId="{61CD20F8-9A09-4374-93B6-79E635244462}">
      <dgm:prSet/>
      <dgm:spPr/>
      <dgm:t>
        <a:bodyPr/>
        <a:lstStyle/>
        <a:p>
          <a:endParaRPr lang="ru-RU"/>
        </a:p>
      </dgm:t>
    </dgm:pt>
    <dgm:pt modelId="{63621ADB-A953-447E-B3C1-AC1788C18DA0}" type="sibTrans" cxnId="{61CD20F8-9A09-4374-93B6-79E635244462}">
      <dgm:prSet/>
      <dgm:spPr/>
      <dgm:t>
        <a:bodyPr/>
        <a:lstStyle/>
        <a:p>
          <a:endParaRPr lang="ru-RU"/>
        </a:p>
      </dgm:t>
    </dgm:pt>
    <dgm:pt modelId="{7E38C464-78C8-4725-9994-FEA2887E3A87}">
      <dgm:prSet phldrT="[Текст]"/>
      <dgm:spPr/>
      <dgm:t>
        <a:bodyPr/>
        <a:lstStyle/>
        <a:p>
          <a:r>
            <a:rPr lang="ru-RU" dirty="0"/>
            <a:t>Химия </a:t>
          </a:r>
          <a:r>
            <a:rPr lang="ru-RU" dirty="0" smtClean="0"/>
            <a:t>- подготовка </a:t>
          </a:r>
          <a:r>
            <a:rPr lang="ru-RU" dirty="0"/>
            <a:t>к ЕГЭ 11 класс</a:t>
          </a:r>
        </a:p>
      </dgm:t>
    </dgm:pt>
    <dgm:pt modelId="{58D886C2-8801-40B9-A49F-2ED910506FC0}" type="parTrans" cxnId="{1C14D3CD-3040-4FE7-B910-DB83E05DE2E7}">
      <dgm:prSet/>
      <dgm:spPr/>
      <dgm:t>
        <a:bodyPr/>
        <a:lstStyle/>
        <a:p>
          <a:endParaRPr lang="ru-RU"/>
        </a:p>
      </dgm:t>
    </dgm:pt>
    <dgm:pt modelId="{901968F0-B087-4AEA-A915-FD6B2E1C7114}" type="sibTrans" cxnId="{1C14D3CD-3040-4FE7-B910-DB83E05DE2E7}">
      <dgm:prSet/>
      <dgm:spPr/>
      <dgm:t>
        <a:bodyPr/>
        <a:lstStyle/>
        <a:p>
          <a:endParaRPr lang="ru-RU"/>
        </a:p>
      </dgm:t>
    </dgm:pt>
    <dgm:pt modelId="{EDC80304-5505-473C-AA9C-273540D2157C}">
      <dgm:prSet phldrT="[Текст]"/>
      <dgm:spPr/>
      <dgm:t>
        <a:bodyPr/>
        <a:lstStyle/>
        <a:p>
          <a:r>
            <a:rPr lang="ru-RU" dirty="0" smtClean="0"/>
            <a:t>Математика Углубленный    (7,8,9 и 10 классы)</a:t>
          </a:r>
          <a:endParaRPr lang="ru-RU" dirty="0"/>
        </a:p>
      </dgm:t>
    </dgm:pt>
    <dgm:pt modelId="{E0CF458D-AA9E-4FFB-93BC-A5D114C22683}" type="parTrans" cxnId="{7CD0A5C6-F4FA-49ED-9EE5-50D988EEDA6A}">
      <dgm:prSet/>
      <dgm:spPr/>
      <dgm:t>
        <a:bodyPr/>
        <a:lstStyle/>
        <a:p>
          <a:endParaRPr lang="ru-RU"/>
        </a:p>
      </dgm:t>
    </dgm:pt>
    <dgm:pt modelId="{7B132962-4CC4-4D25-9050-21E23E0C2625}" type="sibTrans" cxnId="{7CD0A5C6-F4FA-49ED-9EE5-50D988EEDA6A}">
      <dgm:prSet/>
      <dgm:spPr/>
      <dgm:t>
        <a:bodyPr/>
        <a:lstStyle/>
        <a:p>
          <a:endParaRPr lang="ru-RU"/>
        </a:p>
      </dgm:t>
    </dgm:pt>
    <dgm:pt modelId="{32CD6441-EE19-43DA-A577-23909BA16C4A}">
      <dgm:prSet phldrT="[Текст]"/>
      <dgm:spPr/>
      <dgm:t>
        <a:bodyPr/>
        <a:lstStyle/>
        <a:p>
          <a:r>
            <a:rPr lang="ru-RU" dirty="0" smtClean="0"/>
            <a:t>Физика Углубленный        (7,8,9 и 10 классы)</a:t>
          </a:r>
          <a:endParaRPr lang="ru-RU" dirty="0"/>
        </a:p>
      </dgm:t>
    </dgm:pt>
    <dgm:pt modelId="{04854407-91D2-40FD-9434-0C26CEF8D5ED}" type="parTrans" cxnId="{ED4AB37C-73B2-46CC-9A26-142010670FF2}">
      <dgm:prSet/>
      <dgm:spPr/>
      <dgm:t>
        <a:bodyPr/>
        <a:lstStyle/>
        <a:p>
          <a:endParaRPr lang="ru-RU"/>
        </a:p>
      </dgm:t>
    </dgm:pt>
    <dgm:pt modelId="{D8125E60-983D-4D71-A8AF-8AE5F67EB9D9}" type="sibTrans" cxnId="{ED4AB37C-73B2-46CC-9A26-142010670FF2}">
      <dgm:prSet/>
      <dgm:spPr/>
      <dgm:t>
        <a:bodyPr/>
        <a:lstStyle/>
        <a:p>
          <a:endParaRPr lang="ru-RU"/>
        </a:p>
      </dgm:t>
    </dgm:pt>
    <dgm:pt modelId="{6BF5B40A-CE58-4199-86FC-D633EA4EAAF6}" type="pres">
      <dgm:prSet presAssocID="{9BA2F822-9BFB-4340-AE47-719FCF88AF8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EB961E-32D0-474E-95F0-B987FF658FCF}" type="pres">
      <dgm:prSet presAssocID="{8C41BF0E-057B-42F5-B201-AA339BA15772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880C9A-1E03-4B84-B914-1E2220227007}" type="pres">
      <dgm:prSet presAssocID="{8C41BF0E-057B-42F5-B201-AA339BA15772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927F64-B6EC-49D4-A16F-6E8F7BEFFB73}" type="pres">
      <dgm:prSet presAssocID="{0CFB265A-3944-45F6-BB67-777B20BEBDB2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2915F7-E3C6-44B3-A6F7-759505363AC2}" type="pres">
      <dgm:prSet presAssocID="{0CFB265A-3944-45F6-BB67-777B20BEBDB2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955A83-1CE7-4E3F-AC19-1FB66BF1AFFF}" type="pres">
      <dgm:prSet presAssocID="{E93644CF-CB8C-4A41-8280-C6F9D39EBC1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EEDDD8-CF22-46F8-B23E-3CE7B244C3FD}" type="pres">
      <dgm:prSet presAssocID="{E93644CF-CB8C-4A41-8280-C6F9D39EBC14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56F9A598-991F-40CC-85D2-D7AC8165798F}" type="presOf" srcId="{0CFB265A-3944-45F6-BB67-777B20BEBDB2}" destId="{EF927F64-B6EC-49D4-A16F-6E8F7BEFFB73}" srcOrd="0" destOrd="0" presId="urn:microsoft.com/office/officeart/2005/8/layout/vList2"/>
    <dgm:cxn modelId="{1A8BC589-9776-4AC6-8C7B-DC96AC19C4A7}" srcId="{9BA2F822-9BFB-4340-AE47-719FCF88AF89}" destId="{E93644CF-CB8C-4A41-8280-C6F9D39EBC14}" srcOrd="2" destOrd="0" parTransId="{40C294BF-54DC-4C18-96F9-6B5EFD81ABE4}" sibTransId="{92375939-A2B3-432F-85F9-054E843F6FF8}"/>
    <dgm:cxn modelId="{B4C95E38-DBE9-44BE-961F-1E748684F0C5}" type="presOf" srcId="{EDC80304-5505-473C-AA9C-273540D2157C}" destId="{CB880C9A-1E03-4B84-B914-1E2220227007}" srcOrd="0" destOrd="1" presId="urn:microsoft.com/office/officeart/2005/8/layout/vList2"/>
    <dgm:cxn modelId="{0E2FA355-3739-4675-91B4-DB315C71E861}" type="presOf" srcId="{7E38C464-78C8-4725-9994-FEA2887E3A87}" destId="{02EEDDD8-CF22-46F8-B23E-3CE7B244C3FD}" srcOrd="0" destOrd="2" presId="urn:microsoft.com/office/officeart/2005/8/layout/vList2"/>
    <dgm:cxn modelId="{164E6F88-659C-4F48-958B-7BE191E6FA6A}" type="presOf" srcId="{BAEA66FC-C0BA-4F00-AB58-8B2547A07896}" destId="{592915F7-E3C6-44B3-A6F7-759505363AC2}" srcOrd="0" destOrd="2" presId="urn:microsoft.com/office/officeart/2005/8/layout/vList2"/>
    <dgm:cxn modelId="{7CD0A5C6-F4FA-49ED-9EE5-50D988EEDA6A}" srcId="{8C41BF0E-057B-42F5-B201-AA339BA15772}" destId="{EDC80304-5505-473C-AA9C-273540D2157C}" srcOrd="1" destOrd="0" parTransId="{E0CF458D-AA9E-4FFB-93BC-A5D114C22683}" sibTransId="{7B132962-4CC4-4D25-9050-21E23E0C2625}"/>
    <dgm:cxn modelId="{ADA11D24-A075-431B-98D9-E7B548908478}" type="presOf" srcId="{E93644CF-CB8C-4A41-8280-C6F9D39EBC14}" destId="{9E955A83-1CE7-4E3F-AC19-1FB66BF1AFFF}" srcOrd="0" destOrd="0" presId="urn:microsoft.com/office/officeart/2005/8/layout/vList2"/>
    <dgm:cxn modelId="{61CD20F8-9A09-4374-93B6-79E635244462}" srcId="{0CFB265A-3944-45F6-BB67-777B20BEBDB2}" destId="{BAEA66FC-C0BA-4F00-AB58-8B2547A07896}" srcOrd="2" destOrd="0" parTransId="{78A3242E-3DC8-4A50-B498-9849F7786F54}" sibTransId="{63621ADB-A953-447E-B3C1-AC1788C18DA0}"/>
    <dgm:cxn modelId="{20FAD1F8-6D35-47D4-9FF9-D9124F877785}" srcId="{E93644CF-CB8C-4A41-8280-C6F9D39EBC14}" destId="{BBD7A663-0411-4E00-B62D-561AC12CE922}" srcOrd="0" destOrd="0" parTransId="{085C5563-C2D2-4D78-9842-C7A7B21DE3EB}" sibTransId="{EED46B1D-06B0-4270-87A9-96B11DC30209}"/>
    <dgm:cxn modelId="{ED4AB37C-73B2-46CC-9A26-142010670FF2}" srcId="{0CFB265A-3944-45F6-BB67-777B20BEBDB2}" destId="{32CD6441-EE19-43DA-A577-23909BA16C4A}" srcOrd="1" destOrd="0" parTransId="{04854407-91D2-40FD-9434-0C26CEF8D5ED}" sibTransId="{D8125E60-983D-4D71-A8AF-8AE5F67EB9D9}"/>
    <dgm:cxn modelId="{B3F5783F-7950-4EB9-B9B2-BC986EE6B261}" srcId="{0CFB265A-3944-45F6-BB67-777B20BEBDB2}" destId="{E5FF74EC-5BC8-42F0-B084-BDF5DB9FDD3A}" srcOrd="0" destOrd="0" parTransId="{6E0E1491-88B6-4F53-9BAF-DB38DABC367A}" sibTransId="{79DE2C1B-F6F5-48DF-B903-5A3F1C00F3A3}"/>
    <dgm:cxn modelId="{DB71AD1D-0692-47B6-B106-0EB525CE2FFB}" type="presOf" srcId="{E1B847DB-E8E8-428A-8D04-353F95976753}" destId="{CB880C9A-1E03-4B84-B914-1E2220227007}" srcOrd="0" destOrd="0" presId="urn:microsoft.com/office/officeart/2005/8/layout/vList2"/>
    <dgm:cxn modelId="{83C5C1EE-5046-481E-A3F4-D1FF9A38F954}" type="presOf" srcId="{E5FF74EC-5BC8-42F0-B084-BDF5DB9FDD3A}" destId="{592915F7-E3C6-44B3-A6F7-759505363AC2}" srcOrd="0" destOrd="0" presId="urn:microsoft.com/office/officeart/2005/8/layout/vList2"/>
    <dgm:cxn modelId="{F25BDB8C-8931-44C5-9B66-F4713085D515}" type="presOf" srcId="{3DD1C455-226A-4EAA-91EE-B9F485889389}" destId="{CB880C9A-1E03-4B84-B914-1E2220227007}" srcOrd="0" destOrd="2" presId="urn:microsoft.com/office/officeart/2005/8/layout/vList2"/>
    <dgm:cxn modelId="{EA25A768-55A3-4287-AE9C-0B639241380F}" srcId="{9BA2F822-9BFB-4340-AE47-719FCF88AF89}" destId="{0CFB265A-3944-45F6-BB67-777B20BEBDB2}" srcOrd="1" destOrd="0" parTransId="{E8EEC7C5-C639-4F4B-9BC6-5BA162D9EA46}" sibTransId="{23B0C919-5444-43E4-BF4F-12732155667D}"/>
    <dgm:cxn modelId="{2EB70464-18AB-4B4F-894E-8B30CC9C59AE}" srcId="{8C41BF0E-057B-42F5-B201-AA339BA15772}" destId="{E1B847DB-E8E8-428A-8D04-353F95976753}" srcOrd="0" destOrd="0" parTransId="{BA16387F-C3AC-4FB8-BB47-4F1488528059}" sibTransId="{FD31E17E-25DE-4021-B712-F2C953E0006B}"/>
    <dgm:cxn modelId="{4B535018-FF03-4600-95F4-8D488FBC9DFE}" srcId="{8C41BF0E-057B-42F5-B201-AA339BA15772}" destId="{3DD1C455-226A-4EAA-91EE-B9F485889389}" srcOrd="2" destOrd="0" parTransId="{4D4136F9-4094-47ED-9422-C3594C3C65E6}" sibTransId="{CE532916-D3FB-4790-AF84-8E4A1D28C69B}"/>
    <dgm:cxn modelId="{1C14D3CD-3040-4FE7-B910-DB83E05DE2E7}" srcId="{E93644CF-CB8C-4A41-8280-C6F9D39EBC14}" destId="{7E38C464-78C8-4725-9994-FEA2887E3A87}" srcOrd="2" destOrd="0" parTransId="{58D886C2-8801-40B9-A49F-2ED910506FC0}" sibTransId="{901968F0-B087-4AEA-A915-FD6B2E1C7114}"/>
    <dgm:cxn modelId="{02242BA0-7806-48FA-AD5F-98B3FCF17A8C}" srcId="{E93644CF-CB8C-4A41-8280-C6F9D39EBC14}" destId="{1370799A-FC86-44E9-8BF6-B303B5B2C64C}" srcOrd="1" destOrd="0" parTransId="{F6BE44A1-EDC6-48C8-BDC1-892D07B3987C}" sibTransId="{A972BBE9-6EDB-4CE2-ABAB-D9A27D0C37CF}"/>
    <dgm:cxn modelId="{CE3B3556-1161-4EE2-BEDA-A48929ACC9D1}" type="presOf" srcId="{BBD7A663-0411-4E00-B62D-561AC12CE922}" destId="{02EEDDD8-CF22-46F8-B23E-3CE7B244C3FD}" srcOrd="0" destOrd="0" presId="urn:microsoft.com/office/officeart/2005/8/layout/vList2"/>
    <dgm:cxn modelId="{E67B825D-076E-4129-8507-2B1283A41821}" type="presOf" srcId="{9BA2F822-9BFB-4340-AE47-719FCF88AF89}" destId="{6BF5B40A-CE58-4199-86FC-D633EA4EAAF6}" srcOrd="0" destOrd="0" presId="urn:microsoft.com/office/officeart/2005/8/layout/vList2"/>
    <dgm:cxn modelId="{0D5E62B0-8B38-4C2C-9A63-FC251913FDF9}" type="presOf" srcId="{1370799A-FC86-44E9-8BF6-B303B5B2C64C}" destId="{02EEDDD8-CF22-46F8-B23E-3CE7B244C3FD}" srcOrd="0" destOrd="1" presId="urn:microsoft.com/office/officeart/2005/8/layout/vList2"/>
    <dgm:cxn modelId="{6391A5C3-594B-480C-8BCC-92F0BFA598CF}" type="presOf" srcId="{8C41BF0E-057B-42F5-B201-AA339BA15772}" destId="{B0EB961E-32D0-474E-95F0-B987FF658FCF}" srcOrd="0" destOrd="0" presId="urn:microsoft.com/office/officeart/2005/8/layout/vList2"/>
    <dgm:cxn modelId="{38024DCD-5A53-48AF-A0B9-F9EF38E4447A}" type="presOf" srcId="{32CD6441-EE19-43DA-A577-23909BA16C4A}" destId="{592915F7-E3C6-44B3-A6F7-759505363AC2}" srcOrd="0" destOrd="1" presId="urn:microsoft.com/office/officeart/2005/8/layout/vList2"/>
    <dgm:cxn modelId="{7C0F2A9B-5521-4400-B3ED-F5EF867A497B}" srcId="{9BA2F822-9BFB-4340-AE47-719FCF88AF89}" destId="{8C41BF0E-057B-42F5-B201-AA339BA15772}" srcOrd="0" destOrd="0" parTransId="{FC540BE6-B971-47BD-B591-DC8EBEFB70BE}" sibTransId="{9AEBD5E3-B5C0-49EC-B8C3-373E578CED02}"/>
    <dgm:cxn modelId="{C749DA72-C877-44EC-B51B-46ABF20CEA08}" type="presParOf" srcId="{6BF5B40A-CE58-4199-86FC-D633EA4EAAF6}" destId="{B0EB961E-32D0-474E-95F0-B987FF658FCF}" srcOrd="0" destOrd="0" presId="urn:microsoft.com/office/officeart/2005/8/layout/vList2"/>
    <dgm:cxn modelId="{2A724946-C7E5-4B27-971D-B1918D3E62DD}" type="presParOf" srcId="{6BF5B40A-CE58-4199-86FC-D633EA4EAAF6}" destId="{CB880C9A-1E03-4B84-B914-1E2220227007}" srcOrd="1" destOrd="0" presId="urn:microsoft.com/office/officeart/2005/8/layout/vList2"/>
    <dgm:cxn modelId="{328FFB96-6CF8-418B-BD3A-FA1ED2A51FAC}" type="presParOf" srcId="{6BF5B40A-CE58-4199-86FC-D633EA4EAAF6}" destId="{EF927F64-B6EC-49D4-A16F-6E8F7BEFFB73}" srcOrd="2" destOrd="0" presId="urn:microsoft.com/office/officeart/2005/8/layout/vList2"/>
    <dgm:cxn modelId="{19E91775-A72E-4CAF-AEF9-55E4F4B31498}" type="presParOf" srcId="{6BF5B40A-CE58-4199-86FC-D633EA4EAAF6}" destId="{592915F7-E3C6-44B3-A6F7-759505363AC2}" srcOrd="3" destOrd="0" presId="urn:microsoft.com/office/officeart/2005/8/layout/vList2"/>
    <dgm:cxn modelId="{94B433EF-5B36-4B30-BA98-ED6F92D98A49}" type="presParOf" srcId="{6BF5B40A-CE58-4199-86FC-D633EA4EAAF6}" destId="{9E955A83-1CE7-4E3F-AC19-1FB66BF1AFFF}" srcOrd="4" destOrd="0" presId="urn:microsoft.com/office/officeart/2005/8/layout/vList2"/>
    <dgm:cxn modelId="{97490E2E-8EFD-4B8A-A719-442B34B0B950}" type="presParOf" srcId="{6BF5B40A-CE58-4199-86FC-D633EA4EAAF6}" destId="{02EEDDD8-CF22-46F8-B23E-3CE7B244C3FD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A961ED5E-20ED-448A-B539-C8E7911C3AF2}" type="doc">
      <dgm:prSet loTypeId="urn:microsoft.com/office/officeart/2005/8/layout/default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5A859114-23FC-45A4-83C0-65A10E59D7F2}">
      <dgm:prSet/>
      <dgm:spPr/>
      <dgm:t>
        <a:bodyPr/>
        <a:lstStyle/>
        <a:p>
          <a:r>
            <a:rPr lang="ru-RU" dirty="0"/>
            <a:t>Объем программ:</a:t>
          </a:r>
        </a:p>
      </dgm:t>
    </dgm:pt>
    <dgm:pt modelId="{E8D92259-CE84-42C7-974C-066B0C96F7B2}" type="parTrans" cxnId="{C7260987-620A-42CC-BB32-BE0C08663A77}">
      <dgm:prSet/>
      <dgm:spPr/>
      <dgm:t>
        <a:bodyPr/>
        <a:lstStyle/>
        <a:p>
          <a:endParaRPr lang="ru-RU"/>
        </a:p>
      </dgm:t>
    </dgm:pt>
    <dgm:pt modelId="{B83449F7-A5B2-4DD9-82B0-1C11B6E18880}" type="sibTrans" cxnId="{C7260987-620A-42CC-BB32-BE0C08663A77}">
      <dgm:prSet/>
      <dgm:spPr/>
      <dgm:t>
        <a:bodyPr/>
        <a:lstStyle/>
        <a:p>
          <a:endParaRPr lang="ru-RU"/>
        </a:p>
      </dgm:t>
    </dgm:pt>
    <dgm:pt modelId="{7258391A-DB7F-4481-9C04-DB0362A88247}">
      <dgm:prSet/>
      <dgm:spPr/>
      <dgm:t>
        <a:bodyPr/>
        <a:lstStyle/>
        <a:p>
          <a:r>
            <a:rPr lang="ru-RU" dirty="0"/>
            <a:t>28 </a:t>
          </a:r>
          <a:r>
            <a:rPr lang="ru-RU" dirty="0" smtClean="0"/>
            <a:t>часа </a:t>
          </a:r>
          <a:r>
            <a:rPr lang="ru-RU" dirty="0"/>
            <a:t>(38 </a:t>
          </a:r>
          <a:r>
            <a:rPr lang="ru-RU" dirty="0" smtClean="0"/>
            <a:t>часов </a:t>
          </a:r>
          <a:r>
            <a:rPr lang="ru-RU" dirty="0"/>
            <a:t>для 11 </a:t>
          </a:r>
          <a:r>
            <a:rPr lang="ru-RU" dirty="0" smtClean="0"/>
            <a:t>классов) январь-май 2023</a:t>
          </a:r>
          <a:endParaRPr lang="ru-RU" dirty="0"/>
        </a:p>
      </dgm:t>
    </dgm:pt>
    <dgm:pt modelId="{A7042FC1-ABBA-463A-AD2E-90CBE5EDB727}" type="parTrans" cxnId="{55698A91-200F-44BE-98BE-78FA719A4A16}">
      <dgm:prSet/>
      <dgm:spPr/>
      <dgm:t>
        <a:bodyPr/>
        <a:lstStyle/>
        <a:p>
          <a:endParaRPr lang="ru-RU"/>
        </a:p>
      </dgm:t>
    </dgm:pt>
    <dgm:pt modelId="{3699BD7F-C96E-46A1-BDAA-F55140F80541}" type="sibTrans" cxnId="{55698A91-200F-44BE-98BE-78FA719A4A16}">
      <dgm:prSet/>
      <dgm:spPr/>
      <dgm:t>
        <a:bodyPr/>
        <a:lstStyle/>
        <a:p>
          <a:endParaRPr lang="ru-RU"/>
        </a:p>
      </dgm:t>
    </dgm:pt>
    <dgm:pt modelId="{3FA6D82D-02C8-4DEE-8D68-0B1D7DC31932}">
      <dgm:prSet/>
      <dgm:spPr/>
      <dgm:t>
        <a:bodyPr/>
        <a:lstStyle/>
        <a:p>
          <a:r>
            <a:rPr lang="ru-RU"/>
            <a:t>Минимум 2 обязательных предметных программы</a:t>
          </a:r>
        </a:p>
      </dgm:t>
    </dgm:pt>
    <dgm:pt modelId="{E6FCEC50-960C-4E01-939A-E0EED3D50D72}" type="parTrans" cxnId="{11F6BF9B-7051-47DA-B7C9-7D508DFE24C9}">
      <dgm:prSet/>
      <dgm:spPr/>
      <dgm:t>
        <a:bodyPr/>
        <a:lstStyle/>
        <a:p>
          <a:endParaRPr lang="ru-RU"/>
        </a:p>
      </dgm:t>
    </dgm:pt>
    <dgm:pt modelId="{85E1BEFE-9DDB-48A5-9BA1-36E9D5121BB3}" type="sibTrans" cxnId="{11F6BF9B-7051-47DA-B7C9-7D508DFE24C9}">
      <dgm:prSet/>
      <dgm:spPr/>
      <dgm:t>
        <a:bodyPr/>
        <a:lstStyle/>
        <a:p>
          <a:endParaRPr lang="ru-RU"/>
        </a:p>
      </dgm:t>
    </dgm:pt>
    <dgm:pt modelId="{32809735-ACB5-47F6-9168-504F9CBA4B5E}">
      <dgm:prSet/>
      <dgm:spPr/>
      <dgm:t>
        <a:bodyPr/>
        <a:lstStyle/>
        <a:p>
          <a:r>
            <a:rPr lang="ru-RU" dirty="0"/>
            <a:t>Занятия по </a:t>
          </a:r>
          <a:r>
            <a:rPr lang="ru-RU" dirty="0" smtClean="0"/>
            <a:t>каждой </a:t>
          </a:r>
          <a:r>
            <a:rPr lang="ru-RU" dirty="0"/>
            <a:t>программе</a:t>
          </a:r>
        </a:p>
        <a:p>
          <a:r>
            <a:rPr lang="ru-RU" dirty="0"/>
            <a:t>1 раз в неделю</a:t>
          </a:r>
        </a:p>
      </dgm:t>
    </dgm:pt>
    <dgm:pt modelId="{F7C56089-2867-4A54-96B2-807305B041D6}" type="parTrans" cxnId="{E3AEE1E2-C643-4D29-9CEC-5B5F35BE4500}">
      <dgm:prSet/>
      <dgm:spPr/>
      <dgm:t>
        <a:bodyPr/>
        <a:lstStyle/>
        <a:p>
          <a:endParaRPr lang="ru-RU"/>
        </a:p>
      </dgm:t>
    </dgm:pt>
    <dgm:pt modelId="{634C9ECD-F9FB-4C18-81DE-06CB74BFE61D}" type="sibTrans" cxnId="{E3AEE1E2-C643-4D29-9CEC-5B5F35BE4500}">
      <dgm:prSet/>
      <dgm:spPr/>
      <dgm:t>
        <a:bodyPr/>
        <a:lstStyle/>
        <a:p>
          <a:endParaRPr lang="ru-RU"/>
        </a:p>
      </dgm:t>
    </dgm:pt>
    <dgm:pt modelId="{C42F13EB-3D88-475C-8266-DF90E965741D}">
      <dgm:prSet/>
      <dgm:spPr/>
      <dgm:t>
        <a:bodyPr/>
        <a:lstStyle/>
        <a:p>
          <a:r>
            <a:rPr lang="ru-RU" dirty="0"/>
            <a:t>Продолжительность занятия – 2 </a:t>
          </a:r>
          <a:r>
            <a:rPr lang="ru-RU" dirty="0" err="1"/>
            <a:t>ак</a:t>
          </a:r>
          <a:r>
            <a:rPr lang="ru-RU" dirty="0" smtClean="0"/>
            <a:t>. часа</a:t>
          </a:r>
          <a:endParaRPr lang="ru-RU" dirty="0"/>
        </a:p>
      </dgm:t>
    </dgm:pt>
    <dgm:pt modelId="{25026027-153A-40AB-8A0E-0DD9CEBBFFC5}" type="parTrans" cxnId="{84FAF931-2017-42F5-8384-BEF78D7995A1}">
      <dgm:prSet/>
      <dgm:spPr/>
      <dgm:t>
        <a:bodyPr/>
        <a:lstStyle/>
        <a:p>
          <a:endParaRPr lang="ru-RU"/>
        </a:p>
      </dgm:t>
    </dgm:pt>
    <dgm:pt modelId="{6EBE318C-0B26-408D-88C5-BED0D4CA1205}" type="sibTrans" cxnId="{84FAF931-2017-42F5-8384-BEF78D7995A1}">
      <dgm:prSet/>
      <dgm:spPr/>
      <dgm:t>
        <a:bodyPr/>
        <a:lstStyle/>
        <a:p>
          <a:endParaRPr lang="ru-RU"/>
        </a:p>
      </dgm:t>
    </dgm:pt>
    <dgm:pt modelId="{69CCA794-35A7-4F18-82FE-92A346339320}">
      <dgm:prSet/>
      <dgm:spPr/>
      <dgm:t>
        <a:bodyPr/>
        <a:lstStyle/>
        <a:p>
          <a:r>
            <a:rPr lang="ru-RU" dirty="0"/>
            <a:t>Период проведения</a:t>
          </a:r>
        </a:p>
        <a:p>
          <a:r>
            <a:rPr lang="ru-RU" dirty="0"/>
            <a:t>будние дни </a:t>
          </a:r>
        </a:p>
        <a:p>
          <a:r>
            <a:rPr lang="ru-RU" dirty="0"/>
            <a:t>16.00-20.00</a:t>
          </a:r>
        </a:p>
        <a:p>
          <a:r>
            <a:rPr lang="ru-RU" dirty="0"/>
            <a:t>суббота 14.00-20.00</a:t>
          </a:r>
        </a:p>
      </dgm:t>
    </dgm:pt>
    <dgm:pt modelId="{C6A4AB3A-0ADC-4061-8B0D-D60028AD9930}" type="parTrans" cxnId="{5F26D4CF-B9BB-4D8D-B31D-890A2FC79021}">
      <dgm:prSet/>
      <dgm:spPr/>
      <dgm:t>
        <a:bodyPr/>
        <a:lstStyle/>
        <a:p>
          <a:endParaRPr lang="ru-RU"/>
        </a:p>
      </dgm:t>
    </dgm:pt>
    <dgm:pt modelId="{FF9525C6-2CC9-4E89-B15A-933D61D47C05}" type="sibTrans" cxnId="{5F26D4CF-B9BB-4D8D-B31D-890A2FC79021}">
      <dgm:prSet/>
      <dgm:spPr/>
      <dgm:t>
        <a:bodyPr/>
        <a:lstStyle/>
        <a:p>
          <a:endParaRPr lang="ru-RU"/>
        </a:p>
      </dgm:t>
    </dgm:pt>
    <dgm:pt modelId="{C7A3348B-063E-4979-8269-10D336545FE5}">
      <dgm:prSet/>
      <dgm:spPr/>
      <dgm:t>
        <a:bodyPr/>
        <a:lstStyle/>
        <a:p>
          <a:r>
            <a:rPr lang="ru-RU" dirty="0"/>
            <a:t>Входная, промежуточные и итоговая диагностики</a:t>
          </a:r>
        </a:p>
      </dgm:t>
    </dgm:pt>
    <dgm:pt modelId="{816C6566-03A9-4E3B-B148-9C1AD54443B1}" type="parTrans" cxnId="{317FE4A4-A184-48F1-A6A9-8043359C364E}">
      <dgm:prSet/>
      <dgm:spPr/>
      <dgm:t>
        <a:bodyPr/>
        <a:lstStyle/>
        <a:p>
          <a:endParaRPr lang="ru-RU"/>
        </a:p>
      </dgm:t>
    </dgm:pt>
    <dgm:pt modelId="{64C94E6C-E813-41B2-B192-5954C8715231}" type="sibTrans" cxnId="{317FE4A4-A184-48F1-A6A9-8043359C364E}">
      <dgm:prSet/>
      <dgm:spPr/>
      <dgm:t>
        <a:bodyPr/>
        <a:lstStyle/>
        <a:p>
          <a:endParaRPr lang="ru-RU"/>
        </a:p>
      </dgm:t>
    </dgm:pt>
    <dgm:pt modelId="{7AD7FEFC-6311-480C-A08B-267076B8B6B3}">
      <dgm:prSet/>
      <dgm:spPr/>
      <dgm:t>
        <a:bodyPr/>
        <a:lstStyle/>
        <a:p>
          <a:r>
            <a:rPr lang="ru-RU" dirty="0"/>
            <a:t>22 </a:t>
          </a:r>
          <a:r>
            <a:rPr lang="ru-RU" dirty="0" smtClean="0"/>
            <a:t>часа </a:t>
          </a:r>
          <a:r>
            <a:rPr lang="ru-RU" dirty="0"/>
            <a:t>до конца 2022</a:t>
          </a:r>
        </a:p>
      </dgm:t>
    </dgm:pt>
    <dgm:pt modelId="{BC81D87F-1F24-4969-A66E-1DC9A2209320}" type="parTrans" cxnId="{83B6B097-899D-47A9-A524-DA81A59A50A6}">
      <dgm:prSet/>
      <dgm:spPr/>
      <dgm:t>
        <a:bodyPr/>
        <a:lstStyle/>
        <a:p>
          <a:endParaRPr lang="ru-RU"/>
        </a:p>
      </dgm:t>
    </dgm:pt>
    <dgm:pt modelId="{B55DDFC7-B514-423B-BE09-9827EE6B2C26}" type="sibTrans" cxnId="{83B6B097-899D-47A9-A524-DA81A59A50A6}">
      <dgm:prSet/>
      <dgm:spPr/>
      <dgm:t>
        <a:bodyPr/>
        <a:lstStyle/>
        <a:p>
          <a:endParaRPr lang="ru-RU"/>
        </a:p>
      </dgm:t>
    </dgm:pt>
    <dgm:pt modelId="{4B71486D-07F1-44E1-B141-FB4ACE99572F}">
      <dgm:prSet/>
      <dgm:spPr/>
      <dgm:t>
        <a:bodyPr/>
        <a:lstStyle/>
        <a:p>
          <a:r>
            <a:rPr lang="ru-RU" dirty="0"/>
            <a:t>Система рейтинга учеников</a:t>
          </a:r>
        </a:p>
      </dgm:t>
    </dgm:pt>
    <dgm:pt modelId="{39EEF4EB-995D-4E23-A4DE-D0B789EE910B}" type="parTrans" cxnId="{FFB28513-CCF4-4A65-9537-687D07B815B1}">
      <dgm:prSet/>
      <dgm:spPr/>
      <dgm:t>
        <a:bodyPr/>
        <a:lstStyle/>
        <a:p>
          <a:endParaRPr lang="ru-RU"/>
        </a:p>
      </dgm:t>
    </dgm:pt>
    <dgm:pt modelId="{4238B9CD-8835-4CE4-9AC5-0B41252F6894}" type="sibTrans" cxnId="{FFB28513-CCF4-4A65-9537-687D07B815B1}">
      <dgm:prSet/>
      <dgm:spPr/>
      <dgm:t>
        <a:bodyPr/>
        <a:lstStyle/>
        <a:p>
          <a:endParaRPr lang="ru-RU"/>
        </a:p>
      </dgm:t>
    </dgm:pt>
    <dgm:pt modelId="{FA4AC284-BB95-40EE-927D-66E992319901}" type="pres">
      <dgm:prSet presAssocID="{A961ED5E-20ED-448A-B539-C8E7911C3AF2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E55695A1-51BA-427B-A91C-E2C465066052}" type="pres">
      <dgm:prSet presAssocID="{5A859114-23FC-45A4-83C0-65A10E59D7F2}" presName="node" presStyleLbl="node1" presStyleIdx="0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230E08-413C-4376-BF38-0BBFF9A8C640}" type="pres">
      <dgm:prSet presAssocID="{B83449F7-A5B2-4DD9-82B0-1C11B6E18880}" presName="sibTrans" presStyleCnt="0"/>
      <dgm:spPr/>
    </dgm:pt>
    <dgm:pt modelId="{4901C6B9-1BC1-40ED-9B38-EB8F9A0CF097}" type="pres">
      <dgm:prSet presAssocID="{3FA6D82D-02C8-4DEE-8D68-0B1D7DC31932}" presName="node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2471700-8619-4CD0-BE55-B436734E32C4}" type="pres">
      <dgm:prSet presAssocID="{85E1BEFE-9DDB-48A5-9BA1-36E9D5121BB3}" presName="sibTrans" presStyleCnt="0"/>
      <dgm:spPr/>
    </dgm:pt>
    <dgm:pt modelId="{2AA23D4F-ADE4-4056-BE38-E2EEEB3D7D01}" type="pres">
      <dgm:prSet presAssocID="{32809735-ACB5-47F6-9168-504F9CBA4B5E}" presName="node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690CC0-CBAC-49B1-8108-3B2F9CB805AC}" type="pres">
      <dgm:prSet presAssocID="{634C9ECD-F9FB-4C18-81DE-06CB74BFE61D}" presName="sibTrans" presStyleCnt="0"/>
      <dgm:spPr/>
    </dgm:pt>
    <dgm:pt modelId="{46846329-585D-4CAE-AD1C-A86ECBC42261}" type="pres">
      <dgm:prSet presAssocID="{C42F13EB-3D88-475C-8266-DF90E965741D}" presName="node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24F6987-E658-4D4B-97D9-C18443F86DD5}" type="pres">
      <dgm:prSet presAssocID="{6EBE318C-0B26-408D-88C5-BED0D4CA1205}" presName="sibTrans" presStyleCnt="0"/>
      <dgm:spPr/>
    </dgm:pt>
    <dgm:pt modelId="{E3C5B6D4-C493-45C5-ABC3-B2049B64E461}" type="pres">
      <dgm:prSet presAssocID="{69CCA794-35A7-4F18-82FE-92A346339320}" presName="node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6872072-06A3-4C29-95E0-5A1310F648D6}" type="pres">
      <dgm:prSet presAssocID="{FF9525C6-2CC9-4E89-B15A-933D61D47C05}" presName="sibTrans" presStyleCnt="0"/>
      <dgm:spPr/>
    </dgm:pt>
    <dgm:pt modelId="{5609E3DA-E440-43C7-839A-CF649FD17083}" type="pres">
      <dgm:prSet presAssocID="{C7A3348B-063E-4979-8269-10D336545FE5}" presName="node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0345291-F652-4044-8789-19B70EE07D06}" type="pres">
      <dgm:prSet presAssocID="{64C94E6C-E813-41B2-B192-5954C8715231}" presName="sibTrans" presStyleCnt="0"/>
      <dgm:spPr/>
    </dgm:pt>
    <dgm:pt modelId="{D288C1FC-FE27-414B-BEAB-9AA01C203E2F}" type="pres">
      <dgm:prSet presAssocID="{4B71486D-07F1-44E1-B141-FB4ACE99572F}" presName="node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AE148E1-82FA-4561-B349-C7DD97459EB9}" type="presOf" srcId="{C42F13EB-3D88-475C-8266-DF90E965741D}" destId="{46846329-585D-4CAE-AD1C-A86ECBC42261}" srcOrd="0" destOrd="0" presId="urn:microsoft.com/office/officeart/2005/8/layout/default"/>
    <dgm:cxn modelId="{C7260987-620A-42CC-BB32-BE0C08663A77}" srcId="{A961ED5E-20ED-448A-B539-C8E7911C3AF2}" destId="{5A859114-23FC-45A4-83C0-65A10E59D7F2}" srcOrd="0" destOrd="0" parTransId="{E8D92259-CE84-42C7-974C-066B0C96F7B2}" sibTransId="{B83449F7-A5B2-4DD9-82B0-1C11B6E18880}"/>
    <dgm:cxn modelId="{CDACD813-7F34-41F6-A2DA-1F40A04864A1}" type="presOf" srcId="{C7A3348B-063E-4979-8269-10D336545FE5}" destId="{5609E3DA-E440-43C7-839A-CF649FD17083}" srcOrd="0" destOrd="0" presId="urn:microsoft.com/office/officeart/2005/8/layout/default"/>
    <dgm:cxn modelId="{84FAF931-2017-42F5-8384-BEF78D7995A1}" srcId="{A961ED5E-20ED-448A-B539-C8E7911C3AF2}" destId="{C42F13EB-3D88-475C-8266-DF90E965741D}" srcOrd="3" destOrd="0" parTransId="{25026027-153A-40AB-8A0E-0DD9CEBBFFC5}" sibTransId="{6EBE318C-0B26-408D-88C5-BED0D4CA1205}"/>
    <dgm:cxn modelId="{54CB3DD2-82DC-4AD4-A7A4-6B0732266295}" type="presOf" srcId="{7258391A-DB7F-4481-9C04-DB0362A88247}" destId="{E55695A1-51BA-427B-A91C-E2C465066052}" srcOrd="0" destOrd="2" presId="urn:microsoft.com/office/officeart/2005/8/layout/default"/>
    <dgm:cxn modelId="{514C3BB0-BE91-4C7E-B481-824C27D67CF1}" type="presOf" srcId="{3FA6D82D-02C8-4DEE-8D68-0B1D7DC31932}" destId="{4901C6B9-1BC1-40ED-9B38-EB8F9A0CF097}" srcOrd="0" destOrd="0" presId="urn:microsoft.com/office/officeart/2005/8/layout/default"/>
    <dgm:cxn modelId="{FFB28513-CCF4-4A65-9537-687D07B815B1}" srcId="{A961ED5E-20ED-448A-B539-C8E7911C3AF2}" destId="{4B71486D-07F1-44E1-B141-FB4ACE99572F}" srcOrd="6" destOrd="0" parTransId="{39EEF4EB-995D-4E23-A4DE-D0B789EE910B}" sibTransId="{4238B9CD-8835-4CE4-9AC5-0B41252F6894}"/>
    <dgm:cxn modelId="{11F6BF9B-7051-47DA-B7C9-7D508DFE24C9}" srcId="{A961ED5E-20ED-448A-B539-C8E7911C3AF2}" destId="{3FA6D82D-02C8-4DEE-8D68-0B1D7DC31932}" srcOrd="1" destOrd="0" parTransId="{E6FCEC50-960C-4E01-939A-E0EED3D50D72}" sibTransId="{85E1BEFE-9DDB-48A5-9BA1-36E9D5121BB3}"/>
    <dgm:cxn modelId="{A846647F-F76B-4E9B-9705-6A4694A52A50}" type="presOf" srcId="{69CCA794-35A7-4F18-82FE-92A346339320}" destId="{E3C5B6D4-C493-45C5-ABC3-B2049B64E461}" srcOrd="0" destOrd="0" presId="urn:microsoft.com/office/officeart/2005/8/layout/default"/>
    <dgm:cxn modelId="{E3AEE1E2-C643-4D29-9CEC-5B5F35BE4500}" srcId="{A961ED5E-20ED-448A-B539-C8E7911C3AF2}" destId="{32809735-ACB5-47F6-9168-504F9CBA4B5E}" srcOrd="2" destOrd="0" parTransId="{F7C56089-2867-4A54-96B2-807305B041D6}" sibTransId="{634C9ECD-F9FB-4C18-81DE-06CB74BFE61D}"/>
    <dgm:cxn modelId="{5F26D4CF-B9BB-4D8D-B31D-890A2FC79021}" srcId="{A961ED5E-20ED-448A-B539-C8E7911C3AF2}" destId="{69CCA794-35A7-4F18-82FE-92A346339320}" srcOrd="4" destOrd="0" parTransId="{C6A4AB3A-0ADC-4061-8B0D-D60028AD9930}" sibTransId="{FF9525C6-2CC9-4E89-B15A-933D61D47C05}"/>
    <dgm:cxn modelId="{27B7E9FE-4823-47D1-807F-271B03AEEAA8}" type="presOf" srcId="{4B71486D-07F1-44E1-B141-FB4ACE99572F}" destId="{D288C1FC-FE27-414B-BEAB-9AA01C203E2F}" srcOrd="0" destOrd="0" presId="urn:microsoft.com/office/officeart/2005/8/layout/default"/>
    <dgm:cxn modelId="{397EC82C-2D91-444A-985B-D8BF487E1F92}" type="presOf" srcId="{32809735-ACB5-47F6-9168-504F9CBA4B5E}" destId="{2AA23D4F-ADE4-4056-BE38-E2EEEB3D7D01}" srcOrd="0" destOrd="0" presId="urn:microsoft.com/office/officeart/2005/8/layout/default"/>
    <dgm:cxn modelId="{83B6B097-899D-47A9-A524-DA81A59A50A6}" srcId="{5A859114-23FC-45A4-83C0-65A10E59D7F2}" destId="{7AD7FEFC-6311-480C-A08B-267076B8B6B3}" srcOrd="0" destOrd="0" parTransId="{BC81D87F-1F24-4969-A66E-1DC9A2209320}" sibTransId="{B55DDFC7-B514-423B-BE09-9827EE6B2C26}"/>
    <dgm:cxn modelId="{55698A91-200F-44BE-98BE-78FA719A4A16}" srcId="{5A859114-23FC-45A4-83C0-65A10E59D7F2}" destId="{7258391A-DB7F-4481-9C04-DB0362A88247}" srcOrd="1" destOrd="0" parTransId="{A7042FC1-ABBA-463A-AD2E-90CBE5EDB727}" sibTransId="{3699BD7F-C96E-46A1-BDAA-F55140F80541}"/>
    <dgm:cxn modelId="{317FE4A4-A184-48F1-A6A9-8043359C364E}" srcId="{A961ED5E-20ED-448A-B539-C8E7911C3AF2}" destId="{C7A3348B-063E-4979-8269-10D336545FE5}" srcOrd="5" destOrd="0" parTransId="{816C6566-03A9-4E3B-B148-9C1AD54443B1}" sibTransId="{64C94E6C-E813-41B2-B192-5954C8715231}"/>
    <dgm:cxn modelId="{E08F2B38-C688-4BFA-8DFF-EA06C950C814}" type="presOf" srcId="{A961ED5E-20ED-448A-B539-C8E7911C3AF2}" destId="{FA4AC284-BB95-40EE-927D-66E992319901}" srcOrd="0" destOrd="0" presId="urn:microsoft.com/office/officeart/2005/8/layout/default"/>
    <dgm:cxn modelId="{5FE0F737-70D8-4BAF-8728-91797145E3B5}" type="presOf" srcId="{5A859114-23FC-45A4-83C0-65A10E59D7F2}" destId="{E55695A1-51BA-427B-A91C-E2C465066052}" srcOrd="0" destOrd="0" presId="urn:microsoft.com/office/officeart/2005/8/layout/default"/>
    <dgm:cxn modelId="{DFFDE59A-FA4C-4FB1-8540-E3FCD0F5B998}" type="presOf" srcId="{7AD7FEFC-6311-480C-A08B-267076B8B6B3}" destId="{E55695A1-51BA-427B-A91C-E2C465066052}" srcOrd="0" destOrd="1" presId="urn:microsoft.com/office/officeart/2005/8/layout/default"/>
    <dgm:cxn modelId="{EB15EAB4-574B-4433-9EB4-94EE1C19DA7F}" type="presParOf" srcId="{FA4AC284-BB95-40EE-927D-66E992319901}" destId="{E55695A1-51BA-427B-A91C-E2C465066052}" srcOrd="0" destOrd="0" presId="urn:microsoft.com/office/officeart/2005/8/layout/default"/>
    <dgm:cxn modelId="{DF150532-E1CD-4149-BB7B-2C88B91D5032}" type="presParOf" srcId="{FA4AC284-BB95-40EE-927D-66E992319901}" destId="{36230E08-413C-4376-BF38-0BBFF9A8C640}" srcOrd="1" destOrd="0" presId="urn:microsoft.com/office/officeart/2005/8/layout/default"/>
    <dgm:cxn modelId="{973493CF-0339-46E2-BD11-A2C4F8BA5867}" type="presParOf" srcId="{FA4AC284-BB95-40EE-927D-66E992319901}" destId="{4901C6B9-1BC1-40ED-9B38-EB8F9A0CF097}" srcOrd="2" destOrd="0" presId="urn:microsoft.com/office/officeart/2005/8/layout/default"/>
    <dgm:cxn modelId="{FF5C707F-CC41-4969-8B0E-A1D10F952930}" type="presParOf" srcId="{FA4AC284-BB95-40EE-927D-66E992319901}" destId="{22471700-8619-4CD0-BE55-B436734E32C4}" srcOrd="3" destOrd="0" presId="urn:microsoft.com/office/officeart/2005/8/layout/default"/>
    <dgm:cxn modelId="{03903A48-ADD2-4822-97E5-6FE7A1138CB6}" type="presParOf" srcId="{FA4AC284-BB95-40EE-927D-66E992319901}" destId="{2AA23D4F-ADE4-4056-BE38-E2EEEB3D7D01}" srcOrd="4" destOrd="0" presId="urn:microsoft.com/office/officeart/2005/8/layout/default"/>
    <dgm:cxn modelId="{BC0F1B9C-1484-4497-B833-9C111D456188}" type="presParOf" srcId="{FA4AC284-BB95-40EE-927D-66E992319901}" destId="{64690CC0-CBAC-49B1-8108-3B2F9CB805AC}" srcOrd="5" destOrd="0" presId="urn:microsoft.com/office/officeart/2005/8/layout/default"/>
    <dgm:cxn modelId="{AD880D21-F38F-4AF4-9866-9037573A0319}" type="presParOf" srcId="{FA4AC284-BB95-40EE-927D-66E992319901}" destId="{46846329-585D-4CAE-AD1C-A86ECBC42261}" srcOrd="6" destOrd="0" presId="urn:microsoft.com/office/officeart/2005/8/layout/default"/>
    <dgm:cxn modelId="{A573865F-4C89-4D91-98C1-7587D547AA90}" type="presParOf" srcId="{FA4AC284-BB95-40EE-927D-66E992319901}" destId="{D24F6987-E658-4D4B-97D9-C18443F86DD5}" srcOrd="7" destOrd="0" presId="urn:microsoft.com/office/officeart/2005/8/layout/default"/>
    <dgm:cxn modelId="{4BBC4CBB-7DE1-4595-9D59-B5E2DF9B05CB}" type="presParOf" srcId="{FA4AC284-BB95-40EE-927D-66E992319901}" destId="{E3C5B6D4-C493-45C5-ABC3-B2049B64E461}" srcOrd="8" destOrd="0" presId="urn:microsoft.com/office/officeart/2005/8/layout/default"/>
    <dgm:cxn modelId="{54CC926C-2D31-46CA-843D-88630200526B}" type="presParOf" srcId="{FA4AC284-BB95-40EE-927D-66E992319901}" destId="{06872072-06A3-4C29-95E0-5A1310F648D6}" srcOrd="9" destOrd="0" presId="urn:microsoft.com/office/officeart/2005/8/layout/default"/>
    <dgm:cxn modelId="{8B186D36-4692-4C3C-9D88-324C64065325}" type="presParOf" srcId="{FA4AC284-BB95-40EE-927D-66E992319901}" destId="{5609E3DA-E440-43C7-839A-CF649FD17083}" srcOrd="10" destOrd="0" presId="urn:microsoft.com/office/officeart/2005/8/layout/default"/>
    <dgm:cxn modelId="{98F9AB6F-A22C-490F-95D1-D759E4B948D9}" type="presParOf" srcId="{FA4AC284-BB95-40EE-927D-66E992319901}" destId="{B0345291-F652-4044-8789-19B70EE07D06}" srcOrd="11" destOrd="0" presId="urn:microsoft.com/office/officeart/2005/8/layout/default"/>
    <dgm:cxn modelId="{96950669-DB5D-4580-B77F-9B2EFC390BDD}" type="presParOf" srcId="{FA4AC284-BB95-40EE-927D-66E992319901}" destId="{D288C1FC-FE27-414B-BEAB-9AA01C203E2F}" srcOrd="12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9BA2F822-9BFB-4340-AE47-719FCF88AF89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C41BF0E-057B-42F5-B201-AA339BA15772}">
      <dgm:prSet phldrT="[Текст]"/>
      <dgm:spPr/>
      <dgm:t>
        <a:bodyPr/>
        <a:lstStyle/>
        <a:p>
          <a:r>
            <a:rPr lang="ru-RU" dirty="0"/>
            <a:t>Основы проектной деятельности (12 </a:t>
          </a:r>
          <a:r>
            <a:rPr lang="ru-RU" dirty="0" err="1"/>
            <a:t>а.ч</a:t>
          </a:r>
          <a:r>
            <a:rPr lang="ru-RU" dirty="0"/>
            <a:t>.)</a:t>
          </a:r>
        </a:p>
      </dgm:t>
    </dgm:pt>
    <dgm:pt modelId="{FC540BE6-B971-47BD-B591-DC8EBEFB70BE}" type="parTrans" cxnId="{7C0F2A9B-5521-4400-B3ED-F5EF867A497B}">
      <dgm:prSet/>
      <dgm:spPr/>
      <dgm:t>
        <a:bodyPr/>
        <a:lstStyle/>
        <a:p>
          <a:endParaRPr lang="ru-RU"/>
        </a:p>
      </dgm:t>
    </dgm:pt>
    <dgm:pt modelId="{9AEBD5E3-B5C0-49EC-B8C3-373E578CED02}" type="sibTrans" cxnId="{7C0F2A9B-5521-4400-B3ED-F5EF867A497B}">
      <dgm:prSet/>
      <dgm:spPr/>
      <dgm:t>
        <a:bodyPr/>
        <a:lstStyle/>
        <a:p>
          <a:endParaRPr lang="ru-RU"/>
        </a:p>
      </dgm:t>
    </dgm:pt>
    <dgm:pt modelId="{E1B847DB-E8E8-428A-8D04-353F95976753}">
      <dgm:prSet phldrT="[Текст]"/>
      <dgm:spPr/>
      <dgm:t>
        <a:bodyPr/>
        <a:lstStyle/>
        <a:p>
          <a:r>
            <a:rPr lang="ru-RU" dirty="0"/>
            <a:t>7-8 класс</a:t>
          </a:r>
        </a:p>
      </dgm:t>
    </dgm:pt>
    <dgm:pt modelId="{BA16387F-C3AC-4FB8-BB47-4F1488528059}" type="parTrans" cxnId="{2EB70464-18AB-4B4F-894E-8B30CC9C59AE}">
      <dgm:prSet/>
      <dgm:spPr/>
      <dgm:t>
        <a:bodyPr/>
        <a:lstStyle/>
        <a:p>
          <a:endParaRPr lang="ru-RU"/>
        </a:p>
      </dgm:t>
    </dgm:pt>
    <dgm:pt modelId="{FD31E17E-25DE-4021-B712-F2C953E0006B}" type="sibTrans" cxnId="{2EB70464-18AB-4B4F-894E-8B30CC9C59AE}">
      <dgm:prSet/>
      <dgm:spPr/>
      <dgm:t>
        <a:bodyPr/>
        <a:lstStyle/>
        <a:p>
          <a:endParaRPr lang="ru-RU"/>
        </a:p>
      </dgm:t>
    </dgm:pt>
    <dgm:pt modelId="{0CFB265A-3944-45F6-BB67-777B20BEBDB2}">
      <dgm:prSet phldrT="[Текст]"/>
      <dgm:spPr/>
      <dgm:t>
        <a:bodyPr/>
        <a:lstStyle/>
        <a:p>
          <a:r>
            <a:rPr lang="ru-RU" dirty="0"/>
            <a:t>Технологии и профессии УГМК (12 </a:t>
          </a:r>
          <a:r>
            <a:rPr lang="ru-RU" dirty="0" err="1"/>
            <a:t>а.ч</a:t>
          </a:r>
          <a:r>
            <a:rPr lang="ru-RU" dirty="0"/>
            <a:t>.)</a:t>
          </a:r>
          <a:endParaRPr lang="ru-RU" u="none" dirty="0"/>
        </a:p>
      </dgm:t>
    </dgm:pt>
    <dgm:pt modelId="{E8EEC7C5-C639-4F4B-9BC6-5BA162D9EA46}" type="parTrans" cxnId="{EA25A768-55A3-4287-AE9C-0B639241380F}">
      <dgm:prSet/>
      <dgm:spPr/>
      <dgm:t>
        <a:bodyPr/>
        <a:lstStyle/>
        <a:p>
          <a:endParaRPr lang="ru-RU"/>
        </a:p>
      </dgm:t>
    </dgm:pt>
    <dgm:pt modelId="{23B0C919-5444-43E4-BF4F-12732155667D}" type="sibTrans" cxnId="{EA25A768-55A3-4287-AE9C-0B639241380F}">
      <dgm:prSet/>
      <dgm:spPr/>
      <dgm:t>
        <a:bodyPr/>
        <a:lstStyle/>
        <a:p>
          <a:endParaRPr lang="ru-RU"/>
        </a:p>
      </dgm:t>
    </dgm:pt>
    <dgm:pt modelId="{67CA83A3-E978-4D70-8578-B54AE6D087C1}">
      <dgm:prSet phldrT="[Текст]"/>
      <dgm:spPr/>
      <dgm:t>
        <a:bodyPr/>
        <a:lstStyle/>
        <a:p>
          <a:r>
            <a:rPr lang="ru-RU" dirty="0"/>
            <a:t>9-11 класс</a:t>
          </a:r>
        </a:p>
      </dgm:t>
    </dgm:pt>
    <dgm:pt modelId="{5D3606C7-4E2C-4757-96E2-08E6442F4059}" type="parTrans" cxnId="{F450E53E-3406-434D-8813-2B9C5EC8C7B3}">
      <dgm:prSet/>
      <dgm:spPr/>
      <dgm:t>
        <a:bodyPr/>
        <a:lstStyle/>
        <a:p>
          <a:endParaRPr lang="ru-RU"/>
        </a:p>
      </dgm:t>
    </dgm:pt>
    <dgm:pt modelId="{0D32C5D4-8C3B-4210-82A2-F04C817EA8A5}" type="sibTrans" cxnId="{F450E53E-3406-434D-8813-2B9C5EC8C7B3}">
      <dgm:prSet/>
      <dgm:spPr/>
      <dgm:t>
        <a:bodyPr/>
        <a:lstStyle/>
        <a:p>
          <a:endParaRPr lang="ru-RU"/>
        </a:p>
      </dgm:t>
    </dgm:pt>
    <dgm:pt modelId="{E5FF74EC-5BC8-42F0-B084-BDF5DB9FDD3A}">
      <dgm:prSet phldrT="[Текст]"/>
      <dgm:spPr/>
      <dgm:t>
        <a:bodyPr/>
        <a:lstStyle/>
        <a:p>
          <a:r>
            <a:rPr lang="ru-RU" dirty="0"/>
            <a:t>7-11 класс</a:t>
          </a:r>
        </a:p>
      </dgm:t>
    </dgm:pt>
    <dgm:pt modelId="{6E0E1491-88B6-4F53-9BAF-DB38DABC367A}" type="parTrans" cxnId="{B3F5783F-7950-4EB9-B9B2-BC986EE6B261}">
      <dgm:prSet/>
      <dgm:spPr/>
      <dgm:t>
        <a:bodyPr/>
        <a:lstStyle/>
        <a:p>
          <a:endParaRPr lang="ru-RU"/>
        </a:p>
      </dgm:t>
    </dgm:pt>
    <dgm:pt modelId="{79DE2C1B-F6F5-48DF-B903-5A3F1C00F3A3}" type="sibTrans" cxnId="{B3F5783F-7950-4EB9-B9B2-BC986EE6B261}">
      <dgm:prSet/>
      <dgm:spPr/>
      <dgm:t>
        <a:bodyPr/>
        <a:lstStyle/>
        <a:p>
          <a:endParaRPr lang="ru-RU"/>
        </a:p>
      </dgm:t>
    </dgm:pt>
    <dgm:pt modelId="{E93644CF-CB8C-4A41-8280-C6F9D39EBC14}">
      <dgm:prSet phldrT="[Текст]"/>
      <dgm:spPr/>
      <dgm:t>
        <a:bodyPr/>
        <a:lstStyle/>
        <a:p>
          <a:r>
            <a:rPr lang="ru-RU" dirty="0"/>
            <a:t>Развитие «гибких навыков» (</a:t>
          </a:r>
          <a:r>
            <a:rPr lang="en-US" dirty="0"/>
            <a:t>soft-skills</a:t>
          </a:r>
          <a:r>
            <a:rPr lang="ru-RU" dirty="0"/>
            <a:t>) (10 </a:t>
          </a:r>
          <a:r>
            <a:rPr lang="ru-RU" dirty="0" err="1"/>
            <a:t>а.ч</a:t>
          </a:r>
          <a:r>
            <a:rPr lang="ru-RU" dirty="0"/>
            <a:t>.)</a:t>
          </a:r>
        </a:p>
      </dgm:t>
    </dgm:pt>
    <dgm:pt modelId="{40C294BF-54DC-4C18-96F9-6B5EFD81ABE4}" type="parTrans" cxnId="{1A8BC589-9776-4AC6-8C7B-DC96AC19C4A7}">
      <dgm:prSet/>
      <dgm:spPr/>
      <dgm:t>
        <a:bodyPr/>
        <a:lstStyle/>
        <a:p>
          <a:endParaRPr lang="ru-RU"/>
        </a:p>
      </dgm:t>
    </dgm:pt>
    <dgm:pt modelId="{92375939-A2B3-432F-85F9-054E843F6FF8}" type="sibTrans" cxnId="{1A8BC589-9776-4AC6-8C7B-DC96AC19C4A7}">
      <dgm:prSet/>
      <dgm:spPr/>
      <dgm:t>
        <a:bodyPr/>
        <a:lstStyle/>
        <a:p>
          <a:endParaRPr lang="ru-RU"/>
        </a:p>
      </dgm:t>
    </dgm:pt>
    <dgm:pt modelId="{BBD7A663-0411-4E00-B62D-561AC12CE922}">
      <dgm:prSet phldrT="[Текст]"/>
      <dgm:spPr/>
      <dgm:t>
        <a:bodyPr/>
        <a:lstStyle/>
        <a:p>
          <a:r>
            <a:rPr lang="ru-RU" dirty="0"/>
            <a:t>7-8 класс</a:t>
          </a:r>
        </a:p>
      </dgm:t>
    </dgm:pt>
    <dgm:pt modelId="{085C5563-C2D2-4D78-9842-C7A7B21DE3EB}" type="parTrans" cxnId="{20FAD1F8-6D35-47D4-9FF9-D9124F877785}">
      <dgm:prSet/>
      <dgm:spPr/>
      <dgm:t>
        <a:bodyPr/>
        <a:lstStyle/>
        <a:p>
          <a:endParaRPr lang="ru-RU"/>
        </a:p>
      </dgm:t>
    </dgm:pt>
    <dgm:pt modelId="{EED46B1D-06B0-4270-87A9-96B11DC30209}" type="sibTrans" cxnId="{20FAD1F8-6D35-47D4-9FF9-D9124F877785}">
      <dgm:prSet/>
      <dgm:spPr/>
      <dgm:t>
        <a:bodyPr/>
        <a:lstStyle/>
        <a:p>
          <a:endParaRPr lang="ru-RU"/>
        </a:p>
      </dgm:t>
    </dgm:pt>
    <dgm:pt modelId="{1370799A-FC86-44E9-8BF6-B303B5B2C64C}">
      <dgm:prSet phldrT="[Текст]"/>
      <dgm:spPr/>
      <dgm:t>
        <a:bodyPr/>
        <a:lstStyle/>
        <a:p>
          <a:r>
            <a:rPr lang="ru-RU" dirty="0"/>
            <a:t>9-11 класс</a:t>
          </a:r>
        </a:p>
      </dgm:t>
    </dgm:pt>
    <dgm:pt modelId="{F6BE44A1-EDC6-48C8-BDC1-892D07B3987C}" type="parTrans" cxnId="{02242BA0-7806-48FA-AD5F-98B3FCF17A8C}">
      <dgm:prSet/>
      <dgm:spPr/>
      <dgm:t>
        <a:bodyPr/>
        <a:lstStyle/>
        <a:p>
          <a:endParaRPr lang="ru-RU"/>
        </a:p>
      </dgm:t>
    </dgm:pt>
    <dgm:pt modelId="{A972BBE9-6EDB-4CE2-ABAB-D9A27D0C37CF}" type="sibTrans" cxnId="{02242BA0-7806-48FA-AD5F-98B3FCF17A8C}">
      <dgm:prSet/>
      <dgm:spPr/>
      <dgm:t>
        <a:bodyPr/>
        <a:lstStyle/>
        <a:p>
          <a:endParaRPr lang="ru-RU"/>
        </a:p>
      </dgm:t>
    </dgm:pt>
    <dgm:pt modelId="{6BF5B40A-CE58-4199-86FC-D633EA4EAAF6}" type="pres">
      <dgm:prSet presAssocID="{9BA2F822-9BFB-4340-AE47-719FCF88AF8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EB961E-32D0-474E-95F0-B987FF658FCF}" type="pres">
      <dgm:prSet presAssocID="{8C41BF0E-057B-42F5-B201-AA339BA15772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880C9A-1E03-4B84-B914-1E2220227007}" type="pres">
      <dgm:prSet presAssocID="{8C41BF0E-057B-42F5-B201-AA339BA15772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F927F64-B6EC-49D4-A16F-6E8F7BEFFB73}" type="pres">
      <dgm:prSet presAssocID="{0CFB265A-3944-45F6-BB67-777B20BEBDB2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92915F7-E3C6-44B3-A6F7-759505363AC2}" type="pres">
      <dgm:prSet presAssocID="{0CFB265A-3944-45F6-BB67-777B20BEBDB2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E955A83-1CE7-4E3F-AC19-1FB66BF1AFFF}" type="pres">
      <dgm:prSet presAssocID="{E93644CF-CB8C-4A41-8280-C6F9D39EBC14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EEDDD8-CF22-46F8-B23E-3CE7B244C3FD}" type="pres">
      <dgm:prSet presAssocID="{E93644CF-CB8C-4A41-8280-C6F9D39EBC14}" presName="childText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E67B825D-076E-4129-8507-2B1283A41821}" type="presOf" srcId="{9BA2F822-9BFB-4340-AE47-719FCF88AF89}" destId="{6BF5B40A-CE58-4199-86FC-D633EA4EAAF6}" srcOrd="0" destOrd="0" presId="urn:microsoft.com/office/officeart/2005/8/layout/vList2"/>
    <dgm:cxn modelId="{20FAD1F8-6D35-47D4-9FF9-D9124F877785}" srcId="{E93644CF-CB8C-4A41-8280-C6F9D39EBC14}" destId="{BBD7A663-0411-4E00-B62D-561AC12CE922}" srcOrd="0" destOrd="0" parTransId="{085C5563-C2D2-4D78-9842-C7A7B21DE3EB}" sibTransId="{EED46B1D-06B0-4270-87A9-96B11DC30209}"/>
    <dgm:cxn modelId="{7C0F2A9B-5521-4400-B3ED-F5EF867A497B}" srcId="{9BA2F822-9BFB-4340-AE47-719FCF88AF89}" destId="{8C41BF0E-057B-42F5-B201-AA339BA15772}" srcOrd="0" destOrd="0" parTransId="{FC540BE6-B971-47BD-B591-DC8EBEFB70BE}" sibTransId="{9AEBD5E3-B5C0-49EC-B8C3-373E578CED02}"/>
    <dgm:cxn modelId="{B3F5783F-7950-4EB9-B9B2-BC986EE6B261}" srcId="{0CFB265A-3944-45F6-BB67-777B20BEBDB2}" destId="{E5FF74EC-5BC8-42F0-B084-BDF5DB9FDD3A}" srcOrd="0" destOrd="0" parTransId="{6E0E1491-88B6-4F53-9BAF-DB38DABC367A}" sibTransId="{79DE2C1B-F6F5-48DF-B903-5A3F1C00F3A3}"/>
    <dgm:cxn modelId="{2EB70464-18AB-4B4F-894E-8B30CC9C59AE}" srcId="{8C41BF0E-057B-42F5-B201-AA339BA15772}" destId="{E1B847DB-E8E8-428A-8D04-353F95976753}" srcOrd="0" destOrd="0" parTransId="{BA16387F-C3AC-4FB8-BB47-4F1488528059}" sibTransId="{FD31E17E-25DE-4021-B712-F2C953E0006B}"/>
    <dgm:cxn modelId="{02242BA0-7806-48FA-AD5F-98B3FCF17A8C}" srcId="{E93644CF-CB8C-4A41-8280-C6F9D39EBC14}" destId="{1370799A-FC86-44E9-8BF6-B303B5B2C64C}" srcOrd="1" destOrd="0" parTransId="{F6BE44A1-EDC6-48C8-BDC1-892D07B3987C}" sibTransId="{A972BBE9-6EDB-4CE2-ABAB-D9A27D0C37CF}"/>
    <dgm:cxn modelId="{ADA11D24-A075-431B-98D9-E7B548908478}" type="presOf" srcId="{E93644CF-CB8C-4A41-8280-C6F9D39EBC14}" destId="{9E955A83-1CE7-4E3F-AC19-1FB66BF1AFFF}" srcOrd="0" destOrd="0" presId="urn:microsoft.com/office/officeart/2005/8/layout/vList2"/>
    <dgm:cxn modelId="{CE3B3556-1161-4EE2-BEDA-A48929ACC9D1}" type="presOf" srcId="{BBD7A663-0411-4E00-B62D-561AC12CE922}" destId="{02EEDDD8-CF22-46F8-B23E-3CE7B244C3FD}" srcOrd="0" destOrd="0" presId="urn:microsoft.com/office/officeart/2005/8/layout/vList2"/>
    <dgm:cxn modelId="{68576CAC-779D-478C-9947-C4E224E385C6}" type="presOf" srcId="{67CA83A3-E978-4D70-8578-B54AE6D087C1}" destId="{CB880C9A-1E03-4B84-B914-1E2220227007}" srcOrd="0" destOrd="1" presId="urn:microsoft.com/office/officeart/2005/8/layout/vList2"/>
    <dgm:cxn modelId="{F450E53E-3406-434D-8813-2B9C5EC8C7B3}" srcId="{8C41BF0E-057B-42F5-B201-AA339BA15772}" destId="{67CA83A3-E978-4D70-8578-B54AE6D087C1}" srcOrd="1" destOrd="0" parTransId="{5D3606C7-4E2C-4757-96E2-08E6442F4059}" sibTransId="{0D32C5D4-8C3B-4210-82A2-F04C817EA8A5}"/>
    <dgm:cxn modelId="{56F9A598-991F-40CC-85D2-D7AC8165798F}" type="presOf" srcId="{0CFB265A-3944-45F6-BB67-777B20BEBDB2}" destId="{EF927F64-B6EC-49D4-A16F-6E8F7BEFFB73}" srcOrd="0" destOrd="0" presId="urn:microsoft.com/office/officeart/2005/8/layout/vList2"/>
    <dgm:cxn modelId="{0D5E62B0-8B38-4C2C-9A63-FC251913FDF9}" type="presOf" srcId="{1370799A-FC86-44E9-8BF6-B303B5B2C64C}" destId="{02EEDDD8-CF22-46F8-B23E-3CE7B244C3FD}" srcOrd="0" destOrd="1" presId="urn:microsoft.com/office/officeart/2005/8/layout/vList2"/>
    <dgm:cxn modelId="{EA25A768-55A3-4287-AE9C-0B639241380F}" srcId="{9BA2F822-9BFB-4340-AE47-719FCF88AF89}" destId="{0CFB265A-3944-45F6-BB67-777B20BEBDB2}" srcOrd="1" destOrd="0" parTransId="{E8EEC7C5-C639-4F4B-9BC6-5BA162D9EA46}" sibTransId="{23B0C919-5444-43E4-BF4F-12732155667D}"/>
    <dgm:cxn modelId="{6391A5C3-594B-480C-8BCC-92F0BFA598CF}" type="presOf" srcId="{8C41BF0E-057B-42F5-B201-AA339BA15772}" destId="{B0EB961E-32D0-474E-95F0-B987FF658FCF}" srcOrd="0" destOrd="0" presId="urn:microsoft.com/office/officeart/2005/8/layout/vList2"/>
    <dgm:cxn modelId="{DB71AD1D-0692-47B6-B106-0EB525CE2FFB}" type="presOf" srcId="{E1B847DB-E8E8-428A-8D04-353F95976753}" destId="{CB880C9A-1E03-4B84-B914-1E2220227007}" srcOrd="0" destOrd="0" presId="urn:microsoft.com/office/officeart/2005/8/layout/vList2"/>
    <dgm:cxn modelId="{83C5C1EE-5046-481E-A3F4-D1FF9A38F954}" type="presOf" srcId="{E5FF74EC-5BC8-42F0-B084-BDF5DB9FDD3A}" destId="{592915F7-E3C6-44B3-A6F7-759505363AC2}" srcOrd="0" destOrd="0" presId="urn:microsoft.com/office/officeart/2005/8/layout/vList2"/>
    <dgm:cxn modelId="{1A8BC589-9776-4AC6-8C7B-DC96AC19C4A7}" srcId="{9BA2F822-9BFB-4340-AE47-719FCF88AF89}" destId="{E93644CF-CB8C-4A41-8280-C6F9D39EBC14}" srcOrd="2" destOrd="0" parTransId="{40C294BF-54DC-4C18-96F9-6B5EFD81ABE4}" sibTransId="{92375939-A2B3-432F-85F9-054E843F6FF8}"/>
    <dgm:cxn modelId="{C749DA72-C877-44EC-B51B-46ABF20CEA08}" type="presParOf" srcId="{6BF5B40A-CE58-4199-86FC-D633EA4EAAF6}" destId="{B0EB961E-32D0-474E-95F0-B987FF658FCF}" srcOrd="0" destOrd="0" presId="urn:microsoft.com/office/officeart/2005/8/layout/vList2"/>
    <dgm:cxn modelId="{2A724946-C7E5-4B27-971D-B1918D3E62DD}" type="presParOf" srcId="{6BF5B40A-CE58-4199-86FC-D633EA4EAAF6}" destId="{CB880C9A-1E03-4B84-B914-1E2220227007}" srcOrd="1" destOrd="0" presId="urn:microsoft.com/office/officeart/2005/8/layout/vList2"/>
    <dgm:cxn modelId="{328FFB96-6CF8-418B-BD3A-FA1ED2A51FAC}" type="presParOf" srcId="{6BF5B40A-CE58-4199-86FC-D633EA4EAAF6}" destId="{EF927F64-B6EC-49D4-A16F-6E8F7BEFFB73}" srcOrd="2" destOrd="0" presId="urn:microsoft.com/office/officeart/2005/8/layout/vList2"/>
    <dgm:cxn modelId="{19E91775-A72E-4CAF-AEF9-55E4F4B31498}" type="presParOf" srcId="{6BF5B40A-CE58-4199-86FC-D633EA4EAAF6}" destId="{592915F7-E3C6-44B3-A6F7-759505363AC2}" srcOrd="3" destOrd="0" presId="urn:microsoft.com/office/officeart/2005/8/layout/vList2"/>
    <dgm:cxn modelId="{94B433EF-5B36-4B30-BA98-ED6F92D98A49}" type="presParOf" srcId="{6BF5B40A-CE58-4199-86FC-D633EA4EAAF6}" destId="{9E955A83-1CE7-4E3F-AC19-1FB66BF1AFFF}" srcOrd="4" destOrd="0" presId="urn:microsoft.com/office/officeart/2005/8/layout/vList2"/>
    <dgm:cxn modelId="{97490E2E-8EFD-4B8A-A719-442B34B0B950}" type="presParOf" srcId="{6BF5B40A-CE58-4199-86FC-D633EA4EAAF6}" destId="{02EEDDD8-CF22-46F8-B23E-3CE7B244C3FD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9BA2F822-9BFB-4340-AE47-719FCF88AF89}" type="doc">
      <dgm:prSet loTypeId="urn:microsoft.com/office/officeart/2005/8/layout/vList2" loCatId="list" qsTypeId="urn:microsoft.com/office/officeart/2005/8/quickstyle/simple3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C41BF0E-057B-42F5-B201-AA339BA15772}">
      <dgm:prSet phldrT="[Текст]"/>
      <dgm:spPr/>
      <dgm:t>
        <a:bodyPr/>
        <a:lstStyle/>
        <a:p>
          <a:r>
            <a:rPr lang="ru-RU" dirty="0" err="1"/>
            <a:t>Инженериада</a:t>
          </a:r>
          <a:r>
            <a:rPr lang="ru-RU" dirty="0"/>
            <a:t> УГМК</a:t>
          </a:r>
        </a:p>
      </dgm:t>
    </dgm:pt>
    <dgm:pt modelId="{FC540BE6-B971-47BD-B591-DC8EBEFB70BE}" type="parTrans" cxnId="{7C0F2A9B-5521-4400-B3ED-F5EF867A497B}">
      <dgm:prSet/>
      <dgm:spPr/>
      <dgm:t>
        <a:bodyPr/>
        <a:lstStyle/>
        <a:p>
          <a:endParaRPr lang="ru-RU"/>
        </a:p>
      </dgm:t>
    </dgm:pt>
    <dgm:pt modelId="{9AEBD5E3-B5C0-49EC-B8C3-373E578CED02}" type="sibTrans" cxnId="{7C0F2A9B-5521-4400-B3ED-F5EF867A497B}">
      <dgm:prSet/>
      <dgm:spPr/>
      <dgm:t>
        <a:bodyPr/>
        <a:lstStyle/>
        <a:p>
          <a:endParaRPr lang="ru-RU"/>
        </a:p>
      </dgm:t>
    </dgm:pt>
    <dgm:pt modelId="{E1B847DB-E8E8-428A-8D04-353F95976753}">
      <dgm:prSet phldrT="[Текст]"/>
      <dgm:spPr/>
      <dgm:t>
        <a:bodyPr/>
        <a:lstStyle/>
        <a:p>
          <a:r>
            <a:rPr lang="ru-RU" dirty="0"/>
            <a:t>К участию приглашаются все ученики Инженерной школы</a:t>
          </a:r>
        </a:p>
      </dgm:t>
    </dgm:pt>
    <dgm:pt modelId="{BA16387F-C3AC-4FB8-BB47-4F1488528059}" type="parTrans" cxnId="{2EB70464-18AB-4B4F-894E-8B30CC9C59AE}">
      <dgm:prSet/>
      <dgm:spPr/>
      <dgm:t>
        <a:bodyPr/>
        <a:lstStyle/>
        <a:p>
          <a:endParaRPr lang="ru-RU"/>
        </a:p>
      </dgm:t>
    </dgm:pt>
    <dgm:pt modelId="{FD31E17E-25DE-4021-B712-F2C953E0006B}" type="sibTrans" cxnId="{2EB70464-18AB-4B4F-894E-8B30CC9C59AE}">
      <dgm:prSet/>
      <dgm:spPr/>
      <dgm:t>
        <a:bodyPr/>
        <a:lstStyle/>
        <a:p>
          <a:endParaRPr lang="ru-RU"/>
        </a:p>
      </dgm:t>
    </dgm:pt>
    <dgm:pt modelId="{BA03C1AE-A3B5-42FF-85CF-D5DE751E71E8}">
      <dgm:prSet phldrT="[Текст]"/>
      <dgm:spPr/>
      <dgm:t>
        <a:bodyPr/>
        <a:lstStyle/>
        <a:p>
          <a:r>
            <a:rPr lang="ru-RU" dirty="0"/>
            <a:t>Открытие </a:t>
          </a:r>
          <a:r>
            <a:rPr lang="ru-RU" dirty="0" err="1"/>
            <a:t>Инж.школы</a:t>
          </a:r>
          <a:r>
            <a:rPr lang="ru-RU" dirty="0"/>
            <a:t> </a:t>
          </a:r>
          <a:r>
            <a:rPr lang="ru-RU" dirty="0" smtClean="0"/>
            <a:t>УГМК   (05-08 октября)</a:t>
          </a:r>
          <a:endParaRPr lang="ru-RU" dirty="0"/>
        </a:p>
      </dgm:t>
    </dgm:pt>
    <dgm:pt modelId="{856D423C-D39E-4635-B013-081AA085AEFF}" type="parTrans" cxnId="{8DD0A23A-3913-471D-899A-336C131082AF}">
      <dgm:prSet/>
      <dgm:spPr/>
      <dgm:t>
        <a:bodyPr/>
        <a:lstStyle/>
        <a:p>
          <a:endParaRPr lang="ru-RU"/>
        </a:p>
      </dgm:t>
    </dgm:pt>
    <dgm:pt modelId="{E79BF33D-8B80-427B-95BD-4FA7DD4E2AC3}" type="sibTrans" cxnId="{8DD0A23A-3913-471D-899A-336C131082AF}">
      <dgm:prSet/>
      <dgm:spPr/>
      <dgm:t>
        <a:bodyPr/>
        <a:lstStyle/>
        <a:p>
          <a:endParaRPr lang="ru-RU"/>
        </a:p>
      </dgm:t>
    </dgm:pt>
    <dgm:pt modelId="{07F4DE68-6533-4F22-9670-00B0C99CC816}">
      <dgm:prSet phldrT="[Текст]"/>
      <dgm:spPr/>
      <dgm:t>
        <a:bodyPr/>
        <a:lstStyle/>
        <a:p>
          <a:r>
            <a:rPr lang="ru-RU" dirty="0"/>
            <a:t>Ежемесячные ивенты</a:t>
          </a:r>
        </a:p>
      </dgm:t>
    </dgm:pt>
    <dgm:pt modelId="{5B3D0C20-8F79-4B85-A7C0-A271436DA93C}" type="parTrans" cxnId="{7C90E026-8245-4EB6-A42A-0A8F8D7F4A6B}">
      <dgm:prSet/>
      <dgm:spPr/>
      <dgm:t>
        <a:bodyPr/>
        <a:lstStyle/>
        <a:p>
          <a:endParaRPr lang="ru-RU"/>
        </a:p>
      </dgm:t>
    </dgm:pt>
    <dgm:pt modelId="{65F838B2-3EBE-4A73-8F38-90F07FD91EF7}" type="sibTrans" cxnId="{7C90E026-8245-4EB6-A42A-0A8F8D7F4A6B}">
      <dgm:prSet/>
      <dgm:spPr/>
      <dgm:t>
        <a:bodyPr/>
        <a:lstStyle/>
        <a:p>
          <a:endParaRPr lang="ru-RU"/>
        </a:p>
      </dgm:t>
    </dgm:pt>
    <dgm:pt modelId="{09B8CE65-6C61-45DF-93DE-D50111F93425}">
      <dgm:prSet phldrT="[Текст]"/>
      <dgm:spPr/>
      <dgm:t>
        <a:bodyPr/>
        <a:lstStyle/>
        <a:p>
          <a:r>
            <a:rPr lang="ru-RU" dirty="0"/>
            <a:t>Посвящение в ученики </a:t>
          </a:r>
          <a:r>
            <a:rPr lang="ru-RU" dirty="0" err="1"/>
            <a:t>Инж.школы</a:t>
          </a:r>
          <a:r>
            <a:rPr lang="ru-RU" dirty="0"/>
            <a:t> УГМК (ноябрь)</a:t>
          </a:r>
        </a:p>
      </dgm:t>
    </dgm:pt>
    <dgm:pt modelId="{8F157916-C8EB-4C56-A635-9D23876189A7}" type="parTrans" cxnId="{14BDBE10-0397-44CF-A687-70A0C07F0007}">
      <dgm:prSet/>
      <dgm:spPr/>
      <dgm:t>
        <a:bodyPr/>
        <a:lstStyle/>
        <a:p>
          <a:endParaRPr lang="ru-RU"/>
        </a:p>
      </dgm:t>
    </dgm:pt>
    <dgm:pt modelId="{9C975DF4-93BE-462B-ACBE-4E18836722F8}" type="sibTrans" cxnId="{14BDBE10-0397-44CF-A687-70A0C07F0007}">
      <dgm:prSet/>
      <dgm:spPr/>
      <dgm:t>
        <a:bodyPr/>
        <a:lstStyle/>
        <a:p>
          <a:endParaRPr lang="ru-RU"/>
        </a:p>
      </dgm:t>
    </dgm:pt>
    <dgm:pt modelId="{72F351E9-DA77-42D1-A1B6-B816D51E9E3C}">
      <dgm:prSet phldrT="[Текст]"/>
      <dgm:spPr/>
      <dgm:t>
        <a:bodyPr/>
        <a:lstStyle/>
        <a:p>
          <a:r>
            <a:rPr lang="ru-RU" dirty="0"/>
            <a:t>«Инженерная Елка» (декабрь)</a:t>
          </a:r>
        </a:p>
      </dgm:t>
    </dgm:pt>
    <dgm:pt modelId="{C640E987-1249-4C28-9360-76090D1268C2}" type="parTrans" cxnId="{D5B64C68-DE1D-4FE4-A38B-6B88160EF7FB}">
      <dgm:prSet/>
      <dgm:spPr/>
      <dgm:t>
        <a:bodyPr/>
        <a:lstStyle/>
        <a:p>
          <a:endParaRPr lang="ru-RU"/>
        </a:p>
      </dgm:t>
    </dgm:pt>
    <dgm:pt modelId="{4D194C72-E18F-4693-B171-8E63409A845A}" type="sibTrans" cxnId="{D5B64C68-DE1D-4FE4-A38B-6B88160EF7FB}">
      <dgm:prSet/>
      <dgm:spPr/>
      <dgm:t>
        <a:bodyPr/>
        <a:lstStyle/>
        <a:p>
          <a:endParaRPr lang="ru-RU"/>
        </a:p>
      </dgm:t>
    </dgm:pt>
    <dgm:pt modelId="{6BF5B40A-CE58-4199-86FC-D633EA4EAAF6}" type="pres">
      <dgm:prSet presAssocID="{9BA2F822-9BFB-4340-AE47-719FCF88AF8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B0EB961E-32D0-474E-95F0-B987FF658FCF}" type="pres">
      <dgm:prSet presAssocID="{8C41BF0E-057B-42F5-B201-AA339BA15772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B880C9A-1E03-4B84-B914-1E2220227007}" type="pres">
      <dgm:prSet presAssocID="{8C41BF0E-057B-42F5-B201-AA339BA15772}" presName="childText" presStyleLbl="revTx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F1941B3-230D-4D03-B788-94C82C9D71D3}" type="pres">
      <dgm:prSet presAssocID="{07F4DE68-6533-4F22-9670-00B0C99CC816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65FC69-043A-4C69-BD2A-C84A0E5E7F81}" type="pres">
      <dgm:prSet presAssocID="{07F4DE68-6533-4F22-9670-00B0C99CC816}" presName="childText" presStyleLbl="revTx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EB70464-18AB-4B4F-894E-8B30CC9C59AE}" srcId="{8C41BF0E-057B-42F5-B201-AA339BA15772}" destId="{E1B847DB-E8E8-428A-8D04-353F95976753}" srcOrd="0" destOrd="0" parTransId="{BA16387F-C3AC-4FB8-BB47-4F1488528059}" sibTransId="{FD31E17E-25DE-4021-B712-F2C953E0006B}"/>
    <dgm:cxn modelId="{D5B64C68-DE1D-4FE4-A38B-6B88160EF7FB}" srcId="{07F4DE68-6533-4F22-9670-00B0C99CC816}" destId="{72F351E9-DA77-42D1-A1B6-B816D51E9E3C}" srcOrd="2" destOrd="0" parTransId="{C640E987-1249-4C28-9360-76090D1268C2}" sibTransId="{4D194C72-E18F-4693-B171-8E63409A845A}"/>
    <dgm:cxn modelId="{7C90E026-8245-4EB6-A42A-0A8F8D7F4A6B}" srcId="{9BA2F822-9BFB-4340-AE47-719FCF88AF89}" destId="{07F4DE68-6533-4F22-9670-00B0C99CC816}" srcOrd="1" destOrd="0" parTransId="{5B3D0C20-8F79-4B85-A7C0-A271436DA93C}" sibTransId="{65F838B2-3EBE-4A73-8F38-90F07FD91EF7}"/>
    <dgm:cxn modelId="{E805158A-EFCD-4AFF-98EA-ECF2AFBD391C}" type="presOf" srcId="{07F4DE68-6533-4F22-9670-00B0C99CC816}" destId="{FF1941B3-230D-4D03-B788-94C82C9D71D3}" srcOrd="0" destOrd="0" presId="urn:microsoft.com/office/officeart/2005/8/layout/vList2"/>
    <dgm:cxn modelId="{E67B825D-076E-4129-8507-2B1283A41821}" type="presOf" srcId="{9BA2F822-9BFB-4340-AE47-719FCF88AF89}" destId="{6BF5B40A-CE58-4199-86FC-D633EA4EAAF6}" srcOrd="0" destOrd="0" presId="urn:microsoft.com/office/officeart/2005/8/layout/vList2"/>
    <dgm:cxn modelId="{14BDBE10-0397-44CF-A687-70A0C07F0007}" srcId="{07F4DE68-6533-4F22-9670-00B0C99CC816}" destId="{09B8CE65-6C61-45DF-93DE-D50111F93425}" srcOrd="1" destOrd="0" parTransId="{8F157916-C8EB-4C56-A635-9D23876189A7}" sibTransId="{9C975DF4-93BE-462B-ACBE-4E18836722F8}"/>
    <dgm:cxn modelId="{7C0F2A9B-5521-4400-B3ED-F5EF867A497B}" srcId="{9BA2F822-9BFB-4340-AE47-719FCF88AF89}" destId="{8C41BF0E-057B-42F5-B201-AA339BA15772}" srcOrd="0" destOrd="0" parTransId="{FC540BE6-B971-47BD-B591-DC8EBEFB70BE}" sibTransId="{9AEBD5E3-B5C0-49EC-B8C3-373E578CED02}"/>
    <dgm:cxn modelId="{6391A5C3-594B-480C-8BCC-92F0BFA598CF}" type="presOf" srcId="{8C41BF0E-057B-42F5-B201-AA339BA15772}" destId="{B0EB961E-32D0-474E-95F0-B987FF658FCF}" srcOrd="0" destOrd="0" presId="urn:microsoft.com/office/officeart/2005/8/layout/vList2"/>
    <dgm:cxn modelId="{8DD0A23A-3913-471D-899A-336C131082AF}" srcId="{07F4DE68-6533-4F22-9670-00B0C99CC816}" destId="{BA03C1AE-A3B5-42FF-85CF-D5DE751E71E8}" srcOrd="0" destOrd="0" parTransId="{856D423C-D39E-4635-B013-081AA085AEFF}" sibTransId="{E79BF33D-8B80-427B-95BD-4FA7DD4E2AC3}"/>
    <dgm:cxn modelId="{DB71AD1D-0692-47B6-B106-0EB525CE2FFB}" type="presOf" srcId="{E1B847DB-E8E8-428A-8D04-353F95976753}" destId="{CB880C9A-1E03-4B84-B914-1E2220227007}" srcOrd="0" destOrd="0" presId="urn:microsoft.com/office/officeart/2005/8/layout/vList2"/>
    <dgm:cxn modelId="{CD2071D2-70BB-4C13-92E4-4DE1362DEBE3}" type="presOf" srcId="{72F351E9-DA77-42D1-A1B6-B816D51E9E3C}" destId="{9F65FC69-043A-4C69-BD2A-C84A0E5E7F81}" srcOrd="0" destOrd="2" presId="urn:microsoft.com/office/officeart/2005/8/layout/vList2"/>
    <dgm:cxn modelId="{4D6DAD32-F4D7-4995-8590-ED73A0222609}" type="presOf" srcId="{BA03C1AE-A3B5-42FF-85CF-D5DE751E71E8}" destId="{9F65FC69-043A-4C69-BD2A-C84A0E5E7F81}" srcOrd="0" destOrd="0" presId="urn:microsoft.com/office/officeart/2005/8/layout/vList2"/>
    <dgm:cxn modelId="{0D97A74C-9DB8-40F3-A43B-76525C7BEF86}" type="presOf" srcId="{09B8CE65-6C61-45DF-93DE-D50111F93425}" destId="{9F65FC69-043A-4C69-BD2A-C84A0E5E7F81}" srcOrd="0" destOrd="1" presId="urn:microsoft.com/office/officeart/2005/8/layout/vList2"/>
    <dgm:cxn modelId="{C749DA72-C877-44EC-B51B-46ABF20CEA08}" type="presParOf" srcId="{6BF5B40A-CE58-4199-86FC-D633EA4EAAF6}" destId="{B0EB961E-32D0-474E-95F0-B987FF658FCF}" srcOrd="0" destOrd="0" presId="urn:microsoft.com/office/officeart/2005/8/layout/vList2"/>
    <dgm:cxn modelId="{2A724946-C7E5-4B27-971D-B1918D3E62DD}" type="presParOf" srcId="{6BF5B40A-CE58-4199-86FC-D633EA4EAAF6}" destId="{CB880C9A-1E03-4B84-B914-1E2220227007}" srcOrd="1" destOrd="0" presId="urn:microsoft.com/office/officeart/2005/8/layout/vList2"/>
    <dgm:cxn modelId="{8BE31F82-392A-410A-8812-5427B8EBA2D1}" type="presParOf" srcId="{6BF5B40A-CE58-4199-86FC-D633EA4EAAF6}" destId="{FF1941B3-230D-4D03-B788-94C82C9D71D3}" srcOrd="2" destOrd="0" presId="urn:microsoft.com/office/officeart/2005/8/layout/vList2"/>
    <dgm:cxn modelId="{84043309-168F-4FB7-9631-DFCE8ECF8343}" type="presParOf" srcId="{6BF5B40A-CE58-4199-86FC-D633EA4EAAF6}" destId="{9F65FC69-043A-4C69-BD2A-C84A0E5E7F81}" srcOrd="3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A90BA46-C542-439F-9ACE-0C2EFB53F120}">
      <dsp:nvSpPr>
        <dsp:cNvPr id="0" name=""/>
        <dsp:cNvSpPr/>
      </dsp:nvSpPr>
      <dsp:spPr>
        <a:xfrm>
          <a:off x="0" y="0"/>
          <a:ext cx="11524129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</dsp:sp>
    <dsp:sp modelId="{B6972D7A-189A-455D-B4F1-838CC4B1F5E6}">
      <dsp:nvSpPr>
        <dsp:cNvPr id="0" name=""/>
        <dsp:cNvSpPr/>
      </dsp:nvSpPr>
      <dsp:spPr>
        <a:xfrm>
          <a:off x="0" y="0"/>
          <a:ext cx="2304825" cy="206412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0" tIns="228600" rIns="228600" bIns="228600" numCol="1" spcCol="1270" anchor="t" anchorCtr="0">
          <a:noAutofit/>
        </a:bodyPr>
        <a:lstStyle/>
        <a:p>
          <a:pPr lvl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6000" kern="1200" dirty="0" smtClean="0"/>
            <a:t>Цели</a:t>
          </a:r>
          <a:endParaRPr lang="ru-RU" sz="6000" kern="1200" dirty="0"/>
        </a:p>
      </dsp:txBody>
      <dsp:txXfrm>
        <a:off x="0" y="0"/>
        <a:ext cx="2304825" cy="2064123"/>
      </dsp:txXfrm>
    </dsp:sp>
    <dsp:sp modelId="{77EDEC23-9623-4317-BEB3-2DCCEF6B633A}">
      <dsp:nvSpPr>
        <dsp:cNvPr id="0" name=""/>
        <dsp:cNvSpPr/>
      </dsp:nvSpPr>
      <dsp:spPr>
        <a:xfrm>
          <a:off x="2477687" y="36535"/>
          <a:ext cx="9046441" cy="730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Повышение уровня академической подготовки школьников </a:t>
          </a:r>
        </a:p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в регионах присутствия УГМК</a:t>
          </a:r>
        </a:p>
      </dsp:txBody>
      <dsp:txXfrm>
        <a:off x="2477687" y="36535"/>
        <a:ext cx="9046441" cy="730707"/>
      </dsp:txXfrm>
    </dsp:sp>
    <dsp:sp modelId="{72617E45-435F-498D-84E0-4737AEA3B595}">
      <dsp:nvSpPr>
        <dsp:cNvPr id="0" name=""/>
        <dsp:cNvSpPr/>
      </dsp:nvSpPr>
      <dsp:spPr>
        <a:xfrm>
          <a:off x="2304825" y="767242"/>
          <a:ext cx="921930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B5462C92-25B9-4449-8526-A6740AF9E0AB}">
      <dsp:nvSpPr>
        <dsp:cNvPr id="0" name=""/>
        <dsp:cNvSpPr/>
      </dsp:nvSpPr>
      <dsp:spPr>
        <a:xfrm>
          <a:off x="2477687" y="803778"/>
          <a:ext cx="9046441" cy="4560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/>
            <a:t>Стимулирование школьников к поступлению в </a:t>
          </a:r>
          <a:r>
            <a:rPr lang="ru-RU" sz="1800" kern="1200" dirty="0" smtClean="0"/>
            <a:t>технические вузы</a:t>
          </a:r>
          <a:endParaRPr lang="ru-RU" sz="1800" kern="1200" dirty="0"/>
        </a:p>
      </dsp:txBody>
      <dsp:txXfrm>
        <a:off x="2477687" y="803778"/>
        <a:ext cx="9046441" cy="456020"/>
      </dsp:txXfrm>
    </dsp:sp>
    <dsp:sp modelId="{C58001C8-5901-4316-A7E6-31A30D5272BF}">
      <dsp:nvSpPr>
        <dsp:cNvPr id="0" name=""/>
        <dsp:cNvSpPr/>
      </dsp:nvSpPr>
      <dsp:spPr>
        <a:xfrm>
          <a:off x="2304825" y="1259798"/>
          <a:ext cx="921930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  <dsp:sp modelId="{B8B30315-2CED-4A1F-B4DB-BC5FA02C4E9D}">
      <dsp:nvSpPr>
        <dsp:cNvPr id="0" name=""/>
        <dsp:cNvSpPr/>
      </dsp:nvSpPr>
      <dsp:spPr>
        <a:xfrm>
          <a:off x="2477687" y="1296333"/>
          <a:ext cx="9046441" cy="73070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8580" tIns="68580" rIns="68580" bIns="68580" numCol="1" spcCol="1270" anchor="t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/>
            <a:t>Популяризация инженерных </a:t>
          </a:r>
          <a:r>
            <a:rPr lang="ru-RU" sz="1800" kern="1200" dirty="0"/>
            <a:t>профессий среди школьников</a:t>
          </a:r>
        </a:p>
      </dsp:txBody>
      <dsp:txXfrm>
        <a:off x="2477687" y="1296333"/>
        <a:ext cx="9046441" cy="730707"/>
      </dsp:txXfrm>
    </dsp:sp>
    <dsp:sp modelId="{DA7EC8A6-47D0-48CA-9287-1F73551B6143}">
      <dsp:nvSpPr>
        <dsp:cNvPr id="0" name=""/>
        <dsp:cNvSpPr/>
      </dsp:nvSpPr>
      <dsp:spPr>
        <a:xfrm>
          <a:off x="2304825" y="2027041"/>
          <a:ext cx="9219303" cy="0"/>
        </a:xfrm>
        <a:prstGeom prst="lin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 w="6350" cap="flat" cmpd="sng" algn="ctr">
          <a:solidFill>
            <a:schemeClr val="accent1">
              <a:tint val="5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A4A8161-D5FB-470F-86B0-0D804FA4D867}">
      <dsp:nvSpPr>
        <dsp:cNvPr id="0" name=""/>
        <dsp:cNvSpPr/>
      </dsp:nvSpPr>
      <dsp:spPr>
        <a:xfrm>
          <a:off x="3546165" y="864378"/>
          <a:ext cx="66487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64874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3861216" y="906621"/>
        <a:ext cx="34773" cy="6954"/>
      </dsp:txXfrm>
    </dsp:sp>
    <dsp:sp modelId="{58746E0E-21EC-401B-B4DB-936E9888AE2F}">
      <dsp:nvSpPr>
        <dsp:cNvPr id="0" name=""/>
        <dsp:cNvSpPr/>
      </dsp:nvSpPr>
      <dsp:spPr>
        <a:xfrm>
          <a:off x="524163" y="2957"/>
          <a:ext cx="3023802" cy="18142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baseline="0" dirty="0"/>
            <a:t>29 августа – </a:t>
          </a:r>
        </a:p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baseline="0" dirty="0"/>
            <a:t>22 сентября</a:t>
          </a:r>
        </a:p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i="0" kern="1200" baseline="0" dirty="0"/>
            <a:t>Регистрация</a:t>
          </a:r>
          <a:endParaRPr lang="ru-RU" sz="2700" kern="1200" dirty="0"/>
        </a:p>
      </dsp:txBody>
      <dsp:txXfrm>
        <a:off x="524163" y="2957"/>
        <a:ext cx="3023802" cy="1814281"/>
      </dsp:txXfrm>
    </dsp:sp>
    <dsp:sp modelId="{AF534F15-7B52-48CF-8962-0D13259DA696}">
      <dsp:nvSpPr>
        <dsp:cNvPr id="0" name=""/>
        <dsp:cNvSpPr/>
      </dsp:nvSpPr>
      <dsp:spPr>
        <a:xfrm>
          <a:off x="7265442" y="864378"/>
          <a:ext cx="66487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64874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7580493" y="906621"/>
        <a:ext cx="34773" cy="6954"/>
      </dsp:txXfrm>
    </dsp:sp>
    <dsp:sp modelId="{26D8D6AE-0FED-4F05-BB37-F17BB449B9B5}">
      <dsp:nvSpPr>
        <dsp:cNvPr id="0" name=""/>
        <dsp:cNvSpPr/>
      </dsp:nvSpPr>
      <dsp:spPr>
        <a:xfrm>
          <a:off x="4243440" y="2957"/>
          <a:ext cx="3023802" cy="18142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baseline="0" dirty="0" smtClean="0"/>
            <a:t>15, 16, 21 </a:t>
          </a:r>
          <a:r>
            <a:rPr lang="ru-RU" sz="2700" b="1" i="0" kern="1200" baseline="0" dirty="0"/>
            <a:t>сентября </a:t>
          </a:r>
          <a:r>
            <a:rPr lang="ru-RU" sz="2700" b="1" i="0" kern="1200" baseline="0" dirty="0" smtClean="0"/>
            <a:t> </a:t>
          </a:r>
          <a:r>
            <a:rPr lang="ru-RU" sz="2700" i="0" kern="1200" baseline="0" dirty="0" smtClean="0"/>
            <a:t>Установочные </a:t>
          </a:r>
          <a:r>
            <a:rPr lang="ru-RU" sz="2700" i="0" kern="1200" baseline="0" dirty="0"/>
            <a:t>вебинары</a:t>
          </a:r>
          <a:endParaRPr lang="ru-RU" sz="2700" kern="1200" dirty="0"/>
        </a:p>
      </dsp:txBody>
      <dsp:txXfrm>
        <a:off x="4243440" y="2957"/>
        <a:ext cx="3023802" cy="1814281"/>
      </dsp:txXfrm>
    </dsp:sp>
    <dsp:sp modelId="{C29C5037-ACF2-44B3-8322-9F57A051171D}">
      <dsp:nvSpPr>
        <dsp:cNvPr id="0" name=""/>
        <dsp:cNvSpPr/>
      </dsp:nvSpPr>
      <dsp:spPr>
        <a:xfrm>
          <a:off x="2036064" y="1815439"/>
          <a:ext cx="7438554" cy="664874"/>
        </a:xfrm>
        <a:custGeom>
          <a:avLst/>
          <a:gdLst/>
          <a:ahLst/>
          <a:cxnLst/>
          <a:rect l="0" t="0" r="0" b="0"/>
          <a:pathLst>
            <a:path>
              <a:moveTo>
                <a:pt x="7438554" y="0"/>
              </a:moveTo>
              <a:lnTo>
                <a:pt x="7438554" y="349537"/>
              </a:lnTo>
              <a:lnTo>
                <a:pt x="0" y="349537"/>
              </a:lnTo>
              <a:lnTo>
                <a:pt x="0" y="664874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5568566" y="2144399"/>
        <a:ext cx="373549" cy="6954"/>
      </dsp:txXfrm>
    </dsp:sp>
    <dsp:sp modelId="{9D8741B3-BCE8-434E-9BE1-4407EC37853B}">
      <dsp:nvSpPr>
        <dsp:cNvPr id="0" name=""/>
        <dsp:cNvSpPr/>
      </dsp:nvSpPr>
      <dsp:spPr>
        <a:xfrm>
          <a:off x="7962717" y="2957"/>
          <a:ext cx="3023802" cy="18142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3576" tIns="163576" rIns="163576" bIns="163576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b="1" i="0" kern="1200" baseline="0" dirty="0"/>
            <a:t>15-22 </a:t>
          </a:r>
          <a:r>
            <a:rPr lang="ru-RU" sz="2300" b="1" i="0" kern="1200" baseline="0" dirty="0"/>
            <a:t>сентября</a:t>
          </a:r>
        </a:p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i="0" kern="1200" baseline="0" dirty="0"/>
            <a:t>Вводный курс «Введение в профессию инженера»</a:t>
          </a:r>
          <a:endParaRPr lang="ru-RU" sz="2000" kern="1200" dirty="0"/>
        </a:p>
      </dsp:txBody>
      <dsp:txXfrm>
        <a:off x="7962717" y="2957"/>
        <a:ext cx="3023802" cy="1814281"/>
      </dsp:txXfrm>
    </dsp:sp>
    <dsp:sp modelId="{A5BDCCC4-06EE-4145-9C06-ABB192D636D0}">
      <dsp:nvSpPr>
        <dsp:cNvPr id="0" name=""/>
        <dsp:cNvSpPr/>
      </dsp:nvSpPr>
      <dsp:spPr>
        <a:xfrm>
          <a:off x="3546165" y="3374134"/>
          <a:ext cx="66487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64874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3861216" y="3416377"/>
        <a:ext cx="34773" cy="6954"/>
      </dsp:txXfrm>
    </dsp:sp>
    <dsp:sp modelId="{3A7A1F28-F1BD-4B06-A628-5809BB0E51C1}">
      <dsp:nvSpPr>
        <dsp:cNvPr id="0" name=""/>
        <dsp:cNvSpPr/>
      </dsp:nvSpPr>
      <dsp:spPr>
        <a:xfrm>
          <a:off x="524163" y="2512713"/>
          <a:ext cx="3023802" cy="18142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baseline="0" dirty="0"/>
            <a:t>23-24 сентября</a:t>
          </a:r>
        </a:p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i="0" kern="1200" baseline="0" dirty="0"/>
            <a:t>Конкурсный отбор</a:t>
          </a:r>
          <a:endParaRPr lang="ru-RU" sz="2700" kern="1200" dirty="0"/>
        </a:p>
      </dsp:txBody>
      <dsp:txXfrm>
        <a:off x="524163" y="2512713"/>
        <a:ext cx="3023802" cy="1814281"/>
      </dsp:txXfrm>
    </dsp:sp>
    <dsp:sp modelId="{AA5A5861-2BB6-42AE-A91A-23F2A0E2D586}">
      <dsp:nvSpPr>
        <dsp:cNvPr id="0" name=""/>
        <dsp:cNvSpPr/>
      </dsp:nvSpPr>
      <dsp:spPr>
        <a:xfrm>
          <a:off x="7265442" y="3374134"/>
          <a:ext cx="664874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664874" y="45720"/>
              </a:lnTo>
            </a:path>
          </a:pathLst>
        </a:custGeom>
        <a:noFill/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kern="1200"/>
        </a:p>
      </dsp:txBody>
      <dsp:txXfrm>
        <a:off x="7580493" y="3416377"/>
        <a:ext cx="34773" cy="6954"/>
      </dsp:txXfrm>
    </dsp:sp>
    <dsp:sp modelId="{6B5AE62D-DB6C-4123-B436-CEF7CFF651D4}">
      <dsp:nvSpPr>
        <dsp:cNvPr id="0" name=""/>
        <dsp:cNvSpPr/>
      </dsp:nvSpPr>
      <dsp:spPr>
        <a:xfrm>
          <a:off x="4243440" y="2512713"/>
          <a:ext cx="3023802" cy="18142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baseline="0" dirty="0"/>
            <a:t>29 сентября – 03 октября</a:t>
          </a:r>
        </a:p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i="0" kern="1200" baseline="0" dirty="0"/>
            <a:t>Зачисление</a:t>
          </a:r>
          <a:endParaRPr lang="ru-RU" sz="2700" kern="1200" dirty="0"/>
        </a:p>
      </dsp:txBody>
      <dsp:txXfrm>
        <a:off x="4243440" y="2512713"/>
        <a:ext cx="3023802" cy="1814281"/>
      </dsp:txXfrm>
    </dsp:sp>
    <dsp:sp modelId="{C58005B6-AB89-4E96-8377-FFAABEE7F7F9}">
      <dsp:nvSpPr>
        <dsp:cNvPr id="0" name=""/>
        <dsp:cNvSpPr/>
      </dsp:nvSpPr>
      <dsp:spPr>
        <a:xfrm>
          <a:off x="7962717" y="2512713"/>
          <a:ext cx="3023802" cy="1814281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92024" tIns="192024" rIns="192024" bIns="192024" numCol="1" spcCol="1270" anchor="ctr" anchorCtr="0">
          <a:noAutofit/>
        </a:bodyPr>
        <a:lstStyle/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i="0" kern="1200" baseline="0" dirty="0"/>
            <a:t>05-06 октября</a:t>
          </a:r>
        </a:p>
        <a:p>
          <a:pPr lvl="0" algn="ctr" defTabSz="12001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700" b="1" i="0" kern="1200" baseline="0" dirty="0"/>
            <a:t>Старт обучения</a:t>
          </a:r>
          <a:endParaRPr lang="ru-RU" sz="2700" b="1" kern="1200" dirty="0"/>
        </a:p>
      </dsp:txBody>
      <dsp:txXfrm>
        <a:off x="7962717" y="2512713"/>
        <a:ext cx="3023802" cy="1814281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EB1AF37-6663-40DE-9DE0-4A21C894A496}">
      <dsp:nvSpPr>
        <dsp:cNvPr id="0" name=""/>
        <dsp:cNvSpPr/>
      </dsp:nvSpPr>
      <dsp:spPr>
        <a:xfrm>
          <a:off x="0" y="870363"/>
          <a:ext cx="6361272" cy="13608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3705" tIns="333248" rIns="49370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/>
            <a:t>Пробные занятия по математике / физике / химии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/>
            <a:t>Игровое мотивационное занятие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600" kern="1200"/>
            <a:t>Организационное собрание по вопросам конкурсного отбора</a:t>
          </a:r>
        </a:p>
      </dsp:txBody>
      <dsp:txXfrm>
        <a:off x="0" y="870363"/>
        <a:ext cx="6361272" cy="1360800"/>
      </dsp:txXfrm>
    </dsp:sp>
    <dsp:sp modelId="{15309DA7-2C48-489B-B278-64DA4534062E}">
      <dsp:nvSpPr>
        <dsp:cNvPr id="0" name=""/>
        <dsp:cNvSpPr/>
      </dsp:nvSpPr>
      <dsp:spPr>
        <a:xfrm>
          <a:off x="318063" y="634203"/>
          <a:ext cx="4452890" cy="4723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8309" tIns="0" rIns="168309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/>
            <a:t>5 занятий с 15 по 22 сентября</a:t>
          </a:r>
        </a:p>
      </dsp:txBody>
      <dsp:txXfrm>
        <a:off x="341120" y="657260"/>
        <a:ext cx="4406776" cy="426206"/>
      </dsp:txXfrm>
    </dsp:sp>
    <dsp:sp modelId="{02E6A662-8ED5-4374-8B82-FA5D547AFE42}">
      <dsp:nvSpPr>
        <dsp:cNvPr id="0" name=""/>
        <dsp:cNvSpPr/>
      </dsp:nvSpPr>
      <dsp:spPr>
        <a:xfrm>
          <a:off x="0" y="2553723"/>
          <a:ext cx="636127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209D4C8-96EE-42E0-A728-B707EE2E7E44}">
      <dsp:nvSpPr>
        <dsp:cNvPr id="0" name=""/>
        <dsp:cNvSpPr/>
      </dsp:nvSpPr>
      <dsp:spPr>
        <a:xfrm>
          <a:off x="318063" y="2317563"/>
          <a:ext cx="4452890" cy="4723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8309" tIns="0" rIns="168309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/>
            <a:t>Посещение добровольное</a:t>
          </a:r>
        </a:p>
      </dsp:txBody>
      <dsp:txXfrm>
        <a:off x="341120" y="2340620"/>
        <a:ext cx="4406776" cy="426206"/>
      </dsp:txXfrm>
    </dsp:sp>
    <dsp:sp modelId="{1EE0CFAB-57CF-40C9-AFA4-099A08E839A4}">
      <dsp:nvSpPr>
        <dsp:cNvPr id="0" name=""/>
        <dsp:cNvSpPr/>
      </dsp:nvSpPr>
      <dsp:spPr>
        <a:xfrm>
          <a:off x="0" y="3279483"/>
          <a:ext cx="636127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615033-94FA-454F-A6A7-32515C3343C2}">
      <dsp:nvSpPr>
        <dsp:cNvPr id="0" name=""/>
        <dsp:cNvSpPr/>
      </dsp:nvSpPr>
      <dsp:spPr>
        <a:xfrm>
          <a:off x="318063" y="3043323"/>
          <a:ext cx="4452890" cy="4723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8309" tIns="0" rIns="168309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/>
            <a:t>Курс проводится на цифровой платформе, для участия требуется регистрация</a:t>
          </a:r>
        </a:p>
      </dsp:txBody>
      <dsp:txXfrm>
        <a:off x="341120" y="3066380"/>
        <a:ext cx="4406776" cy="426206"/>
      </dsp:txXfrm>
    </dsp:sp>
    <dsp:sp modelId="{F6210E16-0482-4C09-A8BF-F24D4A82A0FC}">
      <dsp:nvSpPr>
        <dsp:cNvPr id="0" name=""/>
        <dsp:cNvSpPr/>
      </dsp:nvSpPr>
      <dsp:spPr>
        <a:xfrm>
          <a:off x="0" y="4005243"/>
          <a:ext cx="6361272" cy="4032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B19CD5-A2FE-43DF-ADB5-9E2208DA7E25}">
      <dsp:nvSpPr>
        <dsp:cNvPr id="0" name=""/>
        <dsp:cNvSpPr/>
      </dsp:nvSpPr>
      <dsp:spPr>
        <a:xfrm>
          <a:off x="318063" y="3769083"/>
          <a:ext cx="4452890" cy="47232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68309" tIns="0" rIns="168309" bIns="0" numCol="1" spcCol="1270" anchor="ctr" anchorCtr="0">
          <a:noAutofit/>
        </a:bodyPr>
        <a:lstStyle/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/>
            <a:t>Продолжительность каждого занятия – 1,5 часа</a:t>
          </a:r>
        </a:p>
      </dsp:txBody>
      <dsp:txXfrm>
        <a:off x="341120" y="3792140"/>
        <a:ext cx="4406776" cy="426206"/>
      </dsp:txXfrm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2EFC5A-A64D-4117-9F36-2A7CF9952180}">
      <dsp:nvSpPr>
        <dsp:cNvPr id="0" name=""/>
        <dsp:cNvSpPr/>
      </dsp:nvSpPr>
      <dsp:spPr>
        <a:xfrm>
          <a:off x="0" y="565451"/>
          <a:ext cx="6361272" cy="5791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Период проведения - с 10.00 23 сентября по 20.00 24 сентября (московское время)</a:t>
          </a:r>
        </a:p>
      </dsp:txBody>
      <dsp:txXfrm>
        <a:off x="28272" y="593723"/>
        <a:ext cx="6304728" cy="522605"/>
      </dsp:txXfrm>
    </dsp:sp>
    <dsp:sp modelId="{76EE87B8-7701-48E6-8FCA-F7D452D5D096}">
      <dsp:nvSpPr>
        <dsp:cNvPr id="0" name=""/>
        <dsp:cNvSpPr/>
      </dsp:nvSpPr>
      <dsp:spPr>
        <a:xfrm>
          <a:off x="0" y="1187801"/>
          <a:ext cx="6361272" cy="5791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Включает в себя 2 обязательных тестирования в онлайн-формате</a:t>
          </a:r>
        </a:p>
      </dsp:txBody>
      <dsp:txXfrm>
        <a:off x="28272" y="1216073"/>
        <a:ext cx="6304728" cy="522605"/>
      </dsp:txXfrm>
    </dsp:sp>
    <dsp:sp modelId="{12D7B5FF-C6BF-4732-925B-836081E66B35}">
      <dsp:nvSpPr>
        <dsp:cNvPr id="0" name=""/>
        <dsp:cNvSpPr/>
      </dsp:nvSpPr>
      <dsp:spPr>
        <a:xfrm>
          <a:off x="0" y="1766951"/>
          <a:ext cx="6361272" cy="7452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1970" tIns="19050" rIns="106680" bIns="19050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/>
            <a:t>Математика (11 заданий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/>
            <a:t>Физика (11 заданий)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200" kern="1200" dirty="0"/>
            <a:t>Уровень – стандартная школьная программа за предыдущий класс (на основе ВПР, ОГЭ)</a:t>
          </a:r>
        </a:p>
      </dsp:txBody>
      <dsp:txXfrm>
        <a:off x="0" y="1766951"/>
        <a:ext cx="6361272" cy="745200"/>
      </dsp:txXfrm>
    </dsp:sp>
    <dsp:sp modelId="{72D28E49-F7FA-496B-AE29-2313DF278920}">
      <dsp:nvSpPr>
        <dsp:cNvPr id="0" name=""/>
        <dsp:cNvSpPr/>
      </dsp:nvSpPr>
      <dsp:spPr>
        <a:xfrm>
          <a:off x="0" y="2512151"/>
          <a:ext cx="6361272" cy="5791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На прохождение тестирования отводится 6 часов</a:t>
          </a:r>
        </a:p>
      </dsp:txBody>
      <dsp:txXfrm>
        <a:off x="28272" y="2540423"/>
        <a:ext cx="6304728" cy="522605"/>
      </dsp:txXfrm>
    </dsp:sp>
    <dsp:sp modelId="{2FC238F4-6784-400B-8C3B-138E98C5067D}">
      <dsp:nvSpPr>
        <dsp:cNvPr id="0" name=""/>
        <dsp:cNvSpPr/>
      </dsp:nvSpPr>
      <dsp:spPr>
        <a:xfrm>
          <a:off x="0" y="3134501"/>
          <a:ext cx="6361272" cy="5791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Публикация результатов в виде рейтинговых списков – не позднее 28 сентября</a:t>
          </a:r>
        </a:p>
      </dsp:txBody>
      <dsp:txXfrm>
        <a:off x="28272" y="3162773"/>
        <a:ext cx="6304728" cy="522605"/>
      </dsp:txXfrm>
    </dsp:sp>
    <dsp:sp modelId="{4E8FABC0-4590-4B51-8027-555E8E4489B7}">
      <dsp:nvSpPr>
        <dsp:cNvPr id="0" name=""/>
        <dsp:cNvSpPr/>
      </dsp:nvSpPr>
      <dsp:spPr>
        <a:xfrm>
          <a:off x="0" y="3756851"/>
          <a:ext cx="6361272" cy="579149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/>
            <a:t>К зачислению рекомендуются конкурсанты, набравшие наибольшее количество баллов, с учетом квот по регионам и классам</a:t>
          </a:r>
        </a:p>
      </dsp:txBody>
      <dsp:txXfrm>
        <a:off x="28272" y="3785123"/>
        <a:ext cx="6304728" cy="522605"/>
      </dsp:txXfrm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40961B6-3F68-4A04-BC40-5D0097D55BF9}">
      <dsp:nvSpPr>
        <dsp:cNvPr id="0" name=""/>
        <dsp:cNvSpPr/>
      </dsp:nvSpPr>
      <dsp:spPr>
        <a:xfrm>
          <a:off x="0" y="1387752"/>
          <a:ext cx="64621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8AD1B8-0424-4AB9-BD14-4DACD792AEA0}">
      <dsp:nvSpPr>
        <dsp:cNvPr id="0" name=""/>
        <dsp:cNvSpPr/>
      </dsp:nvSpPr>
      <dsp:spPr>
        <a:xfrm>
          <a:off x="323106" y="1195872"/>
          <a:ext cx="4523487" cy="3837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977" tIns="0" rIns="170977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Период зачисления – 29 сентября – 02 октября</a:t>
          </a:r>
        </a:p>
      </dsp:txBody>
      <dsp:txXfrm>
        <a:off x="341840" y="1214606"/>
        <a:ext cx="4486019" cy="346292"/>
      </dsp:txXfrm>
    </dsp:sp>
    <dsp:sp modelId="{1E0E6B6A-9BC1-486F-A528-431751A98AEB}">
      <dsp:nvSpPr>
        <dsp:cNvPr id="0" name=""/>
        <dsp:cNvSpPr/>
      </dsp:nvSpPr>
      <dsp:spPr>
        <a:xfrm>
          <a:off x="0" y="1977432"/>
          <a:ext cx="6462125" cy="163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01533" tIns="270764" rIns="501533" bIns="92456" numCol="1" spcCol="1270" anchor="t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Выбрать в личном кабинете не менее 2 программ для обучения (математика, физика, химия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Загрузить скан-копию заявления о зачислении в Технический университет УГМК (за подписью родителя либо законного представителя)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Загрузить скан-копию согласия об обработке персональных данных (за подписью родителя либо законного представителя)</a:t>
          </a:r>
        </a:p>
      </dsp:txBody>
      <dsp:txXfrm>
        <a:off x="0" y="1977432"/>
        <a:ext cx="6462125" cy="1638000"/>
      </dsp:txXfrm>
    </dsp:sp>
    <dsp:sp modelId="{BABD1654-F551-420D-9271-7A290564A990}">
      <dsp:nvSpPr>
        <dsp:cNvPr id="0" name=""/>
        <dsp:cNvSpPr/>
      </dsp:nvSpPr>
      <dsp:spPr>
        <a:xfrm>
          <a:off x="323106" y="1785552"/>
          <a:ext cx="4523487" cy="3837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977" tIns="0" rIns="170977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Необходимые действия</a:t>
          </a:r>
        </a:p>
      </dsp:txBody>
      <dsp:txXfrm>
        <a:off x="341840" y="1804286"/>
        <a:ext cx="4486019" cy="346292"/>
      </dsp:txXfrm>
    </dsp:sp>
    <dsp:sp modelId="{55C72669-CD29-438B-A35C-AA1EB8F3CA01}">
      <dsp:nvSpPr>
        <dsp:cNvPr id="0" name=""/>
        <dsp:cNvSpPr/>
      </dsp:nvSpPr>
      <dsp:spPr>
        <a:xfrm>
          <a:off x="0" y="3877512"/>
          <a:ext cx="64621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7490D79-044E-43FD-9C7C-04F29B8D76EA}">
      <dsp:nvSpPr>
        <dsp:cNvPr id="0" name=""/>
        <dsp:cNvSpPr/>
      </dsp:nvSpPr>
      <dsp:spPr>
        <a:xfrm>
          <a:off x="323106" y="3685632"/>
          <a:ext cx="4523487" cy="3837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977" tIns="0" rIns="170977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В случае отказа школьника от обучения, на его место приглашается следующий в рейтинговом списке</a:t>
          </a:r>
        </a:p>
      </dsp:txBody>
      <dsp:txXfrm>
        <a:off x="341840" y="3704366"/>
        <a:ext cx="4486019" cy="346292"/>
      </dsp:txXfrm>
    </dsp:sp>
    <dsp:sp modelId="{E4B11EB1-DC5C-4EAE-91C2-974E70FC7E8E}">
      <dsp:nvSpPr>
        <dsp:cNvPr id="0" name=""/>
        <dsp:cNvSpPr/>
      </dsp:nvSpPr>
      <dsp:spPr>
        <a:xfrm>
          <a:off x="0" y="4467192"/>
          <a:ext cx="6462125" cy="3276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635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6EC74C-3865-4815-A1F3-8ABED5F3A3E1}">
      <dsp:nvSpPr>
        <dsp:cNvPr id="0" name=""/>
        <dsp:cNvSpPr/>
      </dsp:nvSpPr>
      <dsp:spPr>
        <a:xfrm>
          <a:off x="323106" y="4275312"/>
          <a:ext cx="4523487" cy="3837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70977" tIns="0" rIns="170977" bIns="0" numCol="1" spcCol="1270" anchor="ctr" anchorCtr="0">
          <a:noAutofit/>
        </a:bodyPr>
        <a:lstStyle/>
        <a:p>
          <a:pPr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300" kern="1200" dirty="0"/>
            <a:t>Ориентировочная дата начала обучения – 05 октября</a:t>
          </a:r>
        </a:p>
      </dsp:txBody>
      <dsp:txXfrm>
        <a:off x="341840" y="4294046"/>
        <a:ext cx="4486019" cy="3462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1AAABE1-F428-4A5E-8CC2-078039D2FDEA}">
      <dsp:nvSpPr>
        <dsp:cNvPr id="0" name=""/>
        <dsp:cNvSpPr/>
      </dsp:nvSpPr>
      <dsp:spPr>
        <a:xfrm>
          <a:off x="0" y="5770"/>
          <a:ext cx="5982229" cy="7335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Обучение для школьников БЕСПЛАТНОЕ (средства предприятий УГМК)</a:t>
          </a:r>
        </a:p>
      </dsp:txBody>
      <dsp:txXfrm>
        <a:off x="35811" y="41581"/>
        <a:ext cx="5910607" cy="661968"/>
      </dsp:txXfrm>
    </dsp:sp>
    <dsp:sp modelId="{C9872E15-07FE-49A6-A93F-E7686177A62A}">
      <dsp:nvSpPr>
        <dsp:cNvPr id="0" name=""/>
        <dsp:cNvSpPr/>
      </dsp:nvSpPr>
      <dsp:spPr>
        <a:xfrm>
          <a:off x="0" y="794080"/>
          <a:ext cx="5982229" cy="7335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Поступать могут школьники 7-11 классов территорий присутствия УГМК</a:t>
          </a:r>
        </a:p>
      </dsp:txBody>
      <dsp:txXfrm>
        <a:off x="35811" y="829891"/>
        <a:ext cx="5910607" cy="661968"/>
      </dsp:txXfrm>
    </dsp:sp>
    <dsp:sp modelId="{817675FE-C508-449D-A573-399163F0F995}">
      <dsp:nvSpPr>
        <dsp:cNvPr id="0" name=""/>
        <dsp:cNvSpPr/>
      </dsp:nvSpPr>
      <dsp:spPr>
        <a:xfrm>
          <a:off x="0" y="1582390"/>
          <a:ext cx="5982229" cy="7335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Поступление по результатам конкурсного отбора </a:t>
          </a:r>
        </a:p>
      </dsp:txBody>
      <dsp:txXfrm>
        <a:off x="35811" y="1618201"/>
        <a:ext cx="5910607" cy="661968"/>
      </dsp:txXfrm>
    </dsp:sp>
    <dsp:sp modelId="{2E83C8D9-5990-46A6-A293-576EEF6D5728}">
      <dsp:nvSpPr>
        <dsp:cNvPr id="0" name=""/>
        <dsp:cNvSpPr/>
      </dsp:nvSpPr>
      <dsp:spPr>
        <a:xfrm>
          <a:off x="0" y="2370700"/>
          <a:ext cx="5982229" cy="73359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l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900" kern="1200" dirty="0"/>
            <a:t>Программа успешно апробирована в 2021/22 учебном году</a:t>
          </a:r>
        </a:p>
      </dsp:txBody>
      <dsp:txXfrm>
        <a:off x="35811" y="2406511"/>
        <a:ext cx="5910607" cy="661968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F26461F-F46B-445C-8F52-D732D0767B3C}">
      <dsp:nvSpPr>
        <dsp:cNvPr id="0" name=""/>
        <dsp:cNvSpPr/>
      </dsp:nvSpPr>
      <dsp:spPr>
        <a:xfrm>
          <a:off x="1194903" y="262"/>
          <a:ext cx="569246" cy="56924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17995CE-E92F-47F6-92CB-1FB5F2284E62}">
      <dsp:nvSpPr>
        <dsp:cNvPr id="0" name=""/>
        <dsp:cNvSpPr/>
      </dsp:nvSpPr>
      <dsp:spPr>
        <a:xfrm>
          <a:off x="1479526" y="262"/>
          <a:ext cx="3037138" cy="569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6670" rIns="0" bIns="2667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Математика – 844 (96%)</a:t>
          </a:r>
        </a:p>
      </dsp:txBody>
      <dsp:txXfrm>
        <a:off x="1479526" y="262"/>
        <a:ext cx="3037138" cy="569246"/>
      </dsp:txXfrm>
    </dsp:sp>
    <dsp:sp modelId="{AD5FB789-ABD6-4A9E-BE4F-0946BDE72D29}">
      <dsp:nvSpPr>
        <dsp:cNvPr id="0" name=""/>
        <dsp:cNvSpPr/>
      </dsp:nvSpPr>
      <dsp:spPr>
        <a:xfrm>
          <a:off x="1194903" y="569509"/>
          <a:ext cx="569246" cy="56924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8AB7836C-6D85-4A8E-BB74-5F9141C9CF4E}">
      <dsp:nvSpPr>
        <dsp:cNvPr id="0" name=""/>
        <dsp:cNvSpPr/>
      </dsp:nvSpPr>
      <dsp:spPr>
        <a:xfrm>
          <a:off x="1479526" y="569509"/>
          <a:ext cx="3037138" cy="569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6670" rIns="0" bIns="2667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Физика – 787 (89%)</a:t>
          </a:r>
        </a:p>
      </dsp:txBody>
      <dsp:txXfrm>
        <a:off x="1479526" y="569509"/>
        <a:ext cx="3037138" cy="569246"/>
      </dsp:txXfrm>
    </dsp:sp>
    <dsp:sp modelId="{8081FED3-C030-4FF5-B560-C475583172F7}">
      <dsp:nvSpPr>
        <dsp:cNvPr id="0" name=""/>
        <dsp:cNvSpPr/>
      </dsp:nvSpPr>
      <dsp:spPr>
        <a:xfrm>
          <a:off x="1194903" y="1138755"/>
          <a:ext cx="569246" cy="56924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D626779D-D5CD-4251-9642-4A620F582BFD}">
      <dsp:nvSpPr>
        <dsp:cNvPr id="0" name=""/>
        <dsp:cNvSpPr/>
      </dsp:nvSpPr>
      <dsp:spPr>
        <a:xfrm>
          <a:off x="1479526" y="1138755"/>
          <a:ext cx="3037138" cy="56924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6670" rIns="0" bIns="2667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kern="1200" dirty="0"/>
            <a:t>Химия – 273 (49%)</a:t>
          </a:r>
        </a:p>
      </dsp:txBody>
      <dsp:txXfrm>
        <a:off x="1479526" y="1138755"/>
        <a:ext cx="3037138" cy="569246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D3A3C9-2AD8-4EE6-8078-7F74FBB4290A}">
      <dsp:nvSpPr>
        <dsp:cNvPr id="0" name=""/>
        <dsp:cNvSpPr/>
      </dsp:nvSpPr>
      <dsp:spPr>
        <a:xfrm>
          <a:off x="187068" y="176643"/>
          <a:ext cx="713471" cy="71347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672F025-A0B0-4A91-A90E-B82B96CBC431}">
      <dsp:nvSpPr>
        <dsp:cNvPr id="0" name=""/>
        <dsp:cNvSpPr/>
      </dsp:nvSpPr>
      <dsp:spPr>
        <a:xfrm>
          <a:off x="543804" y="176643"/>
          <a:ext cx="3806633" cy="71347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46990" rIns="0" bIns="46990" numCol="1" spcCol="1270" anchor="ctr" anchorCtr="0">
          <a:noAutofit/>
        </a:bodyPr>
        <a:lstStyle/>
        <a:p>
          <a:pPr lvl="0" algn="l" defTabSz="1644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700" b="1" kern="1200" dirty="0"/>
            <a:t>Зачислено – </a:t>
          </a:r>
          <a:r>
            <a:rPr lang="ru-RU" sz="3700" b="1" kern="1200" dirty="0" smtClean="0"/>
            <a:t>878</a:t>
          </a:r>
          <a:endParaRPr lang="ru-RU" sz="3700" kern="1200" dirty="0"/>
        </a:p>
      </dsp:txBody>
      <dsp:txXfrm>
        <a:off x="543804" y="176643"/>
        <a:ext cx="3806633" cy="71347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2D3A3C9-2AD8-4EE6-8078-7F74FBB4290A}">
      <dsp:nvSpPr>
        <dsp:cNvPr id="0" name=""/>
        <dsp:cNvSpPr/>
      </dsp:nvSpPr>
      <dsp:spPr>
        <a:xfrm>
          <a:off x="0" y="730"/>
          <a:ext cx="556221" cy="556221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</dsp:sp>
    <dsp:sp modelId="{9672F025-A0B0-4A91-A90E-B82B96CBC431}">
      <dsp:nvSpPr>
        <dsp:cNvPr id="0" name=""/>
        <dsp:cNvSpPr/>
      </dsp:nvSpPr>
      <dsp:spPr>
        <a:xfrm>
          <a:off x="249386" y="365"/>
          <a:ext cx="5885400" cy="55622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26670" rIns="0" bIns="26670" numCol="1" spcCol="1270" anchor="ctr" anchorCtr="0">
          <a:noAutofit/>
        </a:bodyPr>
        <a:lstStyle/>
        <a:p>
          <a:pPr lvl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dirty="0" smtClean="0"/>
            <a:t>Переведены на следующий год – </a:t>
          </a:r>
          <a:r>
            <a:rPr lang="ru-RU" sz="2100" b="1" kern="1200" dirty="0"/>
            <a:t>679 (79</a:t>
          </a:r>
          <a:r>
            <a:rPr lang="ru-RU" sz="2100" b="1" kern="1200" dirty="0" smtClean="0"/>
            <a:t>%)</a:t>
          </a:r>
          <a:endParaRPr lang="ru-RU" sz="2100" kern="1200" dirty="0"/>
        </a:p>
      </dsp:txBody>
      <dsp:txXfrm>
        <a:off x="249386" y="365"/>
        <a:ext cx="5885400" cy="556221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EB961E-32D0-474E-95F0-B987FF658FCF}">
      <dsp:nvSpPr>
        <dsp:cNvPr id="0" name=""/>
        <dsp:cNvSpPr/>
      </dsp:nvSpPr>
      <dsp:spPr>
        <a:xfrm>
          <a:off x="0" y="107002"/>
          <a:ext cx="3567460" cy="538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/>
            <a:t>Математика</a:t>
          </a:r>
        </a:p>
      </dsp:txBody>
      <dsp:txXfrm>
        <a:off x="26273" y="133275"/>
        <a:ext cx="3514914" cy="485654"/>
      </dsp:txXfrm>
    </dsp:sp>
    <dsp:sp modelId="{CB880C9A-1E03-4B84-B914-1E2220227007}">
      <dsp:nvSpPr>
        <dsp:cNvPr id="0" name=""/>
        <dsp:cNvSpPr/>
      </dsp:nvSpPr>
      <dsp:spPr>
        <a:xfrm>
          <a:off x="0" y="645202"/>
          <a:ext cx="3567460" cy="1356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267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/>
            <a:t>Математика </a:t>
          </a:r>
          <a:r>
            <a:rPr lang="ru-RU" sz="1800" kern="1200" dirty="0" smtClean="0"/>
            <a:t>Базовый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 smtClean="0"/>
            <a:t>Математика Углубленный    (7,8,9 и 10 классы)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/>
            <a:t>Математика </a:t>
          </a:r>
          <a:r>
            <a:rPr lang="ru-RU" sz="1800" kern="1200" dirty="0" smtClean="0"/>
            <a:t>- подготовка </a:t>
          </a:r>
          <a:r>
            <a:rPr lang="ru-RU" sz="1800" kern="1200" dirty="0"/>
            <a:t>к ЕГЭ 11 класс</a:t>
          </a:r>
        </a:p>
      </dsp:txBody>
      <dsp:txXfrm>
        <a:off x="0" y="645202"/>
        <a:ext cx="3567460" cy="1356885"/>
      </dsp:txXfrm>
    </dsp:sp>
    <dsp:sp modelId="{EF927F64-B6EC-49D4-A16F-6E8F7BEFFB73}">
      <dsp:nvSpPr>
        <dsp:cNvPr id="0" name=""/>
        <dsp:cNvSpPr/>
      </dsp:nvSpPr>
      <dsp:spPr>
        <a:xfrm>
          <a:off x="0" y="2002088"/>
          <a:ext cx="3567460" cy="538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/>
            <a:t>Физика</a:t>
          </a:r>
          <a:endParaRPr lang="ru-RU" sz="2300" u="none" kern="1200" dirty="0"/>
        </a:p>
      </dsp:txBody>
      <dsp:txXfrm>
        <a:off x="26273" y="2028361"/>
        <a:ext cx="3514914" cy="485654"/>
      </dsp:txXfrm>
    </dsp:sp>
    <dsp:sp modelId="{592915F7-E3C6-44B3-A6F7-759505363AC2}">
      <dsp:nvSpPr>
        <dsp:cNvPr id="0" name=""/>
        <dsp:cNvSpPr/>
      </dsp:nvSpPr>
      <dsp:spPr>
        <a:xfrm>
          <a:off x="0" y="2540288"/>
          <a:ext cx="3567460" cy="135688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267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/>
            <a:t>Физика </a:t>
          </a:r>
          <a:r>
            <a:rPr lang="ru-RU" sz="1800" kern="1200" dirty="0" smtClean="0"/>
            <a:t>Базовый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 smtClean="0"/>
            <a:t>Физика Углубленный        (7,8,9 и 10 классы)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/>
            <a:t>Физика </a:t>
          </a:r>
          <a:r>
            <a:rPr lang="ru-RU" sz="1800" kern="1200" dirty="0" smtClean="0"/>
            <a:t>- подготовка </a:t>
          </a:r>
          <a:r>
            <a:rPr lang="ru-RU" sz="1800" kern="1200" dirty="0"/>
            <a:t>к ЕГЭ 11 класс</a:t>
          </a:r>
        </a:p>
      </dsp:txBody>
      <dsp:txXfrm>
        <a:off x="0" y="2540288"/>
        <a:ext cx="3567460" cy="1356885"/>
      </dsp:txXfrm>
    </dsp:sp>
    <dsp:sp modelId="{9E955A83-1CE7-4E3F-AC19-1FB66BF1AFFF}">
      <dsp:nvSpPr>
        <dsp:cNvPr id="0" name=""/>
        <dsp:cNvSpPr/>
      </dsp:nvSpPr>
      <dsp:spPr>
        <a:xfrm>
          <a:off x="0" y="3897173"/>
          <a:ext cx="3567460" cy="5382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300" kern="1200" dirty="0"/>
            <a:t>Химия</a:t>
          </a:r>
        </a:p>
      </dsp:txBody>
      <dsp:txXfrm>
        <a:off x="26273" y="3923446"/>
        <a:ext cx="3514914" cy="485654"/>
      </dsp:txXfrm>
    </dsp:sp>
    <dsp:sp modelId="{02EEDDD8-CF22-46F8-B23E-3CE7B244C3FD}">
      <dsp:nvSpPr>
        <dsp:cNvPr id="0" name=""/>
        <dsp:cNvSpPr/>
      </dsp:nvSpPr>
      <dsp:spPr>
        <a:xfrm>
          <a:off x="0" y="4435373"/>
          <a:ext cx="3567460" cy="11188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267" tIns="29210" rIns="163576" bIns="2921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/>
            <a:t>Химия Базовый </a:t>
          </a:r>
          <a:r>
            <a:rPr lang="ru-RU" sz="1800" kern="1200" dirty="0" smtClean="0"/>
            <a:t>8, 9 </a:t>
          </a:r>
          <a:r>
            <a:rPr lang="ru-RU" sz="1800" kern="1200" dirty="0"/>
            <a:t>класс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/>
            <a:t>Химия </a:t>
          </a:r>
          <a:r>
            <a:rPr lang="ru-RU" sz="1800" kern="1200" dirty="0" smtClean="0"/>
            <a:t>Углубленный 10 класс</a:t>
          </a:r>
          <a:endParaRPr lang="ru-RU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1800" kern="1200" dirty="0"/>
            <a:t>Химия </a:t>
          </a:r>
          <a:r>
            <a:rPr lang="ru-RU" sz="1800" kern="1200" dirty="0" smtClean="0"/>
            <a:t>- подготовка </a:t>
          </a:r>
          <a:r>
            <a:rPr lang="ru-RU" sz="1800" kern="1200" dirty="0"/>
            <a:t>к ЕГЭ 11 класс</a:t>
          </a:r>
        </a:p>
      </dsp:txBody>
      <dsp:txXfrm>
        <a:off x="0" y="4435373"/>
        <a:ext cx="3567460" cy="111883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5695A1-51BA-427B-A91C-E2C465066052}">
      <dsp:nvSpPr>
        <dsp:cNvPr id="0" name=""/>
        <dsp:cNvSpPr/>
      </dsp:nvSpPr>
      <dsp:spPr>
        <a:xfrm>
          <a:off x="0" y="198955"/>
          <a:ext cx="2283093" cy="136985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t" anchorCtr="0">
          <a:noAutofit/>
        </a:bodyPr>
        <a:lstStyle/>
        <a:p>
          <a:pPr lvl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Объем программ: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22 </a:t>
          </a:r>
          <a:r>
            <a:rPr lang="ru-RU" sz="1300" kern="1200" dirty="0" smtClean="0"/>
            <a:t>часа </a:t>
          </a:r>
          <a:r>
            <a:rPr lang="ru-RU" sz="1300" kern="1200" dirty="0"/>
            <a:t>до конца 2022</a:t>
          </a:r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kern="1200" dirty="0"/>
            <a:t>28 </a:t>
          </a:r>
          <a:r>
            <a:rPr lang="ru-RU" sz="1300" kern="1200" dirty="0" smtClean="0"/>
            <a:t>часа </a:t>
          </a:r>
          <a:r>
            <a:rPr lang="ru-RU" sz="1300" kern="1200" dirty="0"/>
            <a:t>(38 </a:t>
          </a:r>
          <a:r>
            <a:rPr lang="ru-RU" sz="1300" kern="1200" dirty="0" smtClean="0"/>
            <a:t>часов </a:t>
          </a:r>
          <a:r>
            <a:rPr lang="ru-RU" sz="1300" kern="1200" dirty="0"/>
            <a:t>для 11 </a:t>
          </a:r>
          <a:r>
            <a:rPr lang="ru-RU" sz="1300" kern="1200" dirty="0" smtClean="0"/>
            <a:t>классов) январь-май 2023</a:t>
          </a:r>
          <a:endParaRPr lang="ru-RU" sz="1300" kern="1200" dirty="0"/>
        </a:p>
      </dsp:txBody>
      <dsp:txXfrm>
        <a:off x="0" y="198955"/>
        <a:ext cx="2283093" cy="1369856"/>
      </dsp:txXfrm>
    </dsp:sp>
    <dsp:sp modelId="{4901C6B9-1BC1-40ED-9B38-EB8F9A0CF097}">
      <dsp:nvSpPr>
        <dsp:cNvPr id="0" name=""/>
        <dsp:cNvSpPr/>
      </dsp:nvSpPr>
      <dsp:spPr>
        <a:xfrm>
          <a:off x="2511403" y="198955"/>
          <a:ext cx="2283093" cy="136985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/>
            <a:t>Минимум 2 обязательных предметных программы</a:t>
          </a:r>
        </a:p>
      </dsp:txBody>
      <dsp:txXfrm>
        <a:off x="2511403" y="198955"/>
        <a:ext cx="2283093" cy="1369856"/>
      </dsp:txXfrm>
    </dsp:sp>
    <dsp:sp modelId="{2AA23D4F-ADE4-4056-BE38-E2EEEB3D7D01}">
      <dsp:nvSpPr>
        <dsp:cNvPr id="0" name=""/>
        <dsp:cNvSpPr/>
      </dsp:nvSpPr>
      <dsp:spPr>
        <a:xfrm>
          <a:off x="5022806" y="198955"/>
          <a:ext cx="2283093" cy="136985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Занятия по </a:t>
          </a:r>
          <a:r>
            <a:rPr lang="ru-RU" sz="1700" kern="1200" dirty="0" smtClean="0"/>
            <a:t>каждой </a:t>
          </a:r>
          <a:r>
            <a:rPr lang="ru-RU" sz="1700" kern="1200" dirty="0"/>
            <a:t>программе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1 раз в неделю</a:t>
          </a:r>
        </a:p>
      </dsp:txBody>
      <dsp:txXfrm>
        <a:off x="5022806" y="198955"/>
        <a:ext cx="2283093" cy="1369856"/>
      </dsp:txXfrm>
    </dsp:sp>
    <dsp:sp modelId="{46846329-585D-4CAE-AD1C-A86ECBC42261}">
      <dsp:nvSpPr>
        <dsp:cNvPr id="0" name=""/>
        <dsp:cNvSpPr/>
      </dsp:nvSpPr>
      <dsp:spPr>
        <a:xfrm>
          <a:off x="0" y="1797121"/>
          <a:ext cx="2283093" cy="136985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Продолжительность занятия – 2 </a:t>
          </a:r>
          <a:r>
            <a:rPr lang="ru-RU" sz="1700" kern="1200" dirty="0" err="1"/>
            <a:t>ак</a:t>
          </a:r>
          <a:r>
            <a:rPr lang="ru-RU" sz="1700" kern="1200" dirty="0" smtClean="0"/>
            <a:t>. часа</a:t>
          </a:r>
          <a:endParaRPr lang="ru-RU" sz="1700" kern="1200" dirty="0"/>
        </a:p>
      </dsp:txBody>
      <dsp:txXfrm>
        <a:off x="0" y="1797121"/>
        <a:ext cx="2283093" cy="1369856"/>
      </dsp:txXfrm>
    </dsp:sp>
    <dsp:sp modelId="{E3C5B6D4-C493-45C5-ABC3-B2049B64E461}">
      <dsp:nvSpPr>
        <dsp:cNvPr id="0" name=""/>
        <dsp:cNvSpPr/>
      </dsp:nvSpPr>
      <dsp:spPr>
        <a:xfrm>
          <a:off x="2511403" y="1797121"/>
          <a:ext cx="2283093" cy="136985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Период проведения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будние дни 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16.00-20.00</a:t>
          </a:r>
        </a:p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суббота 14.00-20.00</a:t>
          </a:r>
        </a:p>
      </dsp:txBody>
      <dsp:txXfrm>
        <a:off x="2511403" y="1797121"/>
        <a:ext cx="2283093" cy="1369856"/>
      </dsp:txXfrm>
    </dsp:sp>
    <dsp:sp modelId="{5609E3DA-E440-43C7-839A-CF649FD17083}">
      <dsp:nvSpPr>
        <dsp:cNvPr id="0" name=""/>
        <dsp:cNvSpPr/>
      </dsp:nvSpPr>
      <dsp:spPr>
        <a:xfrm>
          <a:off x="5022806" y="1797121"/>
          <a:ext cx="2283093" cy="136985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Входная, промежуточные и итоговая диагностики</a:t>
          </a:r>
        </a:p>
      </dsp:txBody>
      <dsp:txXfrm>
        <a:off x="5022806" y="1797121"/>
        <a:ext cx="2283093" cy="1369856"/>
      </dsp:txXfrm>
    </dsp:sp>
    <dsp:sp modelId="{D288C1FC-FE27-414B-BEAB-9AA01C203E2F}">
      <dsp:nvSpPr>
        <dsp:cNvPr id="0" name=""/>
        <dsp:cNvSpPr/>
      </dsp:nvSpPr>
      <dsp:spPr>
        <a:xfrm>
          <a:off x="2511403" y="3395286"/>
          <a:ext cx="2283093" cy="1369856"/>
        </a:xfrm>
        <a:prstGeom prst="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kern="1200" dirty="0"/>
            <a:t>Система рейтинга учеников</a:t>
          </a:r>
        </a:p>
      </dsp:txBody>
      <dsp:txXfrm>
        <a:off x="2511403" y="3395286"/>
        <a:ext cx="2283093" cy="1369856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EB961E-32D0-474E-95F0-B987FF658FCF}">
      <dsp:nvSpPr>
        <dsp:cNvPr id="0" name=""/>
        <dsp:cNvSpPr/>
      </dsp:nvSpPr>
      <dsp:spPr>
        <a:xfrm>
          <a:off x="0" y="82126"/>
          <a:ext cx="5566956" cy="10038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/>
            <a:t>Основы проектной деятельности (12 </a:t>
          </a:r>
          <a:r>
            <a:rPr lang="ru-RU" sz="2600" kern="1200" dirty="0" err="1"/>
            <a:t>а.ч</a:t>
          </a:r>
          <a:r>
            <a:rPr lang="ru-RU" sz="2600" kern="1200" dirty="0"/>
            <a:t>.)</a:t>
          </a:r>
        </a:p>
      </dsp:txBody>
      <dsp:txXfrm>
        <a:off x="49004" y="131130"/>
        <a:ext cx="5468948" cy="905852"/>
      </dsp:txXfrm>
    </dsp:sp>
    <dsp:sp modelId="{CB880C9A-1E03-4B84-B914-1E2220227007}">
      <dsp:nvSpPr>
        <dsp:cNvPr id="0" name=""/>
        <dsp:cNvSpPr/>
      </dsp:nvSpPr>
      <dsp:spPr>
        <a:xfrm>
          <a:off x="0" y="1085986"/>
          <a:ext cx="5566956" cy="6592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6751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/>
            <a:t>7-8 класс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/>
            <a:t>9-11 класс</a:t>
          </a:r>
        </a:p>
      </dsp:txBody>
      <dsp:txXfrm>
        <a:off x="0" y="1085986"/>
        <a:ext cx="5566956" cy="659295"/>
      </dsp:txXfrm>
    </dsp:sp>
    <dsp:sp modelId="{EF927F64-B6EC-49D4-A16F-6E8F7BEFFB73}">
      <dsp:nvSpPr>
        <dsp:cNvPr id="0" name=""/>
        <dsp:cNvSpPr/>
      </dsp:nvSpPr>
      <dsp:spPr>
        <a:xfrm>
          <a:off x="0" y="1745281"/>
          <a:ext cx="5566956" cy="10038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/>
            <a:t>Технологии и профессии УГМК (12 </a:t>
          </a:r>
          <a:r>
            <a:rPr lang="ru-RU" sz="2600" kern="1200" dirty="0" err="1"/>
            <a:t>а.ч</a:t>
          </a:r>
          <a:r>
            <a:rPr lang="ru-RU" sz="2600" kern="1200" dirty="0"/>
            <a:t>.)</a:t>
          </a:r>
          <a:endParaRPr lang="ru-RU" sz="2600" u="none" kern="1200" dirty="0"/>
        </a:p>
      </dsp:txBody>
      <dsp:txXfrm>
        <a:off x="49004" y="1794285"/>
        <a:ext cx="5468948" cy="905852"/>
      </dsp:txXfrm>
    </dsp:sp>
    <dsp:sp modelId="{592915F7-E3C6-44B3-A6F7-759505363AC2}">
      <dsp:nvSpPr>
        <dsp:cNvPr id="0" name=""/>
        <dsp:cNvSpPr/>
      </dsp:nvSpPr>
      <dsp:spPr>
        <a:xfrm>
          <a:off x="0" y="2749141"/>
          <a:ext cx="5566956" cy="43056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6751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/>
            <a:t>7-11 класс</a:t>
          </a:r>
        </a:p>
      </dsp:txBody>
      <dsp:txXfrm>
        <a:off x="0" y="2749141"/>
        <a:ext cx="5566956" cy="430560"/>
      </dsp:txXfrm>
    </dsp:sp>
    <dsp:sp modelId="{9E955A83-1CE7-4E3F-AC19-1FB66BF1AFFF}">
      <dsp:nvSpPr>
        <dsp:cNvPr id="0" name=""/>
        <dsp:cNvSpPr/>
      </dsp:nvSpPr>
      <dsp:spPr>
        <a:xfrm>
          <a:off x="0" y="3179701"/>
          <a:ext cx="5566956" cy="100386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l" defTabSz="1155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600" kern="1200" dirty="0"/>
            <a:t>Развитие «гибких навыков» (</a:t>
          </a:r>
          <a:r>
            <a:rPr lang="en-US" sz="2600" kern="1200" dirty="0"/>
            <a:t>soft-skills</a:t>
          </a:r>
          <a:r>
            <a:rPr lang="ru-RU" sz="2600" kern="1200" dirty="0"/>
            <a:t>) (10 </a:t>
          </a:r>
          <a:r>
            <a:rPr lang="ru-RU" sz="2600" kern="1200" dirty="0" err="1"/>
            <a:t>а.ч</a:t>
          </a:r>
          <a:r>
            <a:rPr lang="ru-RU" sz="2600" kern="1200" dirty="0"/>
            <a:t>.)</a:t>
          </a:r>
        </a:p>
      </dsp:txBody>
      <dsp:txXfrm>
        <a:off x="49004" y="3228705"/>
        <a:ext cx="5468948" cy="905852"/>
      </dsp:txXfrm>
    </dsp:sp>
    <dsp:sp modelId="{02EEDDD8-CF22-46F8-B23E-3CE7B244C3FD}">
      <dsp:nvSpPr>
        <dsp:cNvPr id="0" name=""/>
        <dsp:cNvSpPr/>
      </dsp:nvSpPr>
      <dsp:spPr>
        <a:xfrm>
          <a:off x="0" y="4183561"/>
          <a:ext cx="5566956" cy="6592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6751" tIns="33020" rIns="184912" bIns="33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/>
            <a:t>7-8 класс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000" kern="1200" dirty="0"/>
            <a:t>9-11 класс</a:t>
          </a:r>
        </a:p>
      </dsp:txBody>
      <dsp:txXfrm>
        <a:off x="0" y="4183561"/>
        <a:ext cx="5566956" cy="659295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0EB961E-32D0-474E-95F0-B987FF658FCF}">
      <dsp:nvSpPr>
        <dsp:cNvPr id="0" name=""/>
        <dsp:cNvSpPr/>
      </dsp:nvSpPr>
      <dsp:spPr>
        <a:xfrm>
          <a:off x="0" y="8406"/>
          <a:ext cx="5031516" cy="795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400" kern="1200" dirty="0" err="1"/>
            <a:t>Инженериада</a:t>
          </a:r>
          <a:r>
            <a:rPr lang="ru-RU" sz="3400" kern="1200" dirty="0"/>
            <a:t> УГМК</a:t>
          </a:r>
        </a:p>
      </dsp:txBody>
      <dsp:txXfrm>
        <a:off x="38838" y="47244"/>
        <a:ext cx="4953840" cy="717924"/>
      </dsp:txXfrm>
    </dsp:sp>
    <dsp:sp modelId="{CB880C9A-1E03-4B84-B914-1E2220227007}">
      <dsp:nvSpPr>
        <dsp:cNvPr id="0" name=""/>
        <dsp:cNvSpPr/>
      </dsp:nvSpPr>
      <dsp:spPr>
        <a:xfrm>
          <a:off x="0" y="804006"/>
          <a:ext cx="5031516" cy="116127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9751" tIns="43180" rIns="241808" bIns="43180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700" kern="1200" dirty="0"/>
            <a:t>К участию приглашаются все ученики Инженерной школы</a:t>
          </a:r>
        </a:p>
      </dsp:txBody>
      <dsp:txXfrm>
        <a:off x="0" y="804006"/>
        <a:ext cx="5031516" cy="1161270"/>
      </dsp:txXfrm>
    </dsp:sp>
    <dsp:sp modelId="{FF1941B3-230D-4D03-B788-94C82C9D71D3}">
      <dsp:nvSpPr>
        <dsp:cNvPr id="0" name=""/>
        <dsp:cNvSpPr/>
      </dsp:nvSpPr>
      <dsp:spPr>
        <a:xfrm>
          <a:off x="0" y="1965276"/>
          <a:ext cx="5031516" cy="795600"/>
        </a:xfrm>
        <a:prstGeom prst="roundRect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lumMod val="110000"/>
                <a:satMod val="105000"/>
                <a:tint val="67000"/>
              </a:schemeClr>
            </a:gs>
            <a:gs pos="50000">
              <a:schemeClr val="accent1">
                <a:hueOff val="0"/>
                <a:satOff val="0"/>
                <a:lumOff val="0"/>
                <a:alphaOff val="0"/>
                <a:lumMod val="105000"/>
                <a:satMod val="103000"/>
                <a:tint val="73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lumMod val="105000"/>
                <a:satMod val="109000"/>
                <a:tint val="81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29540" tIns="129540" rIns="129540" bIns="129540" numCol="1" spcCol="1270" anchor="ctr" anchorCtr="0">
          <a:noAutofit/>
        </a:bodyPr>
        <a:lstStyle/>
        <a:p>
          <a:pPr lvl="0" algn="l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400" kern="1200" dirty="0"/>
            <a:t>Ежемесячные ивенты</a:t>
          </a:r>
        </a:p>
      </dsp:txBody>
      <dsp:txXfrm>
        <a:off x="38838" y="2004114"/>
        <a:ext cx="4953840" cy="717924"/>
      </dsp:txXfrm>
    </dsp:sp>
    <dsp:sp modelId="{9F65FC69-043A-4C69-BD2A-C84A0E5E7F81}">
      <dsp:nvSpPr>
        <dsp:cNvPr id="0" name=""/>
        <dsp:cNvSpPr/>
      </dsp:nvSpPr>
      <dsp:spPr>
        <a:xfrm>
          <a:off x="0" y="2760876"/>
          <a:ext cx="5031516" cy="23929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59751" tIns="43180" rIns="241808" bIns="43180" numCol="1" spcCol="1270" anchor="t" anchorCtr="0">
          <a:noAutofit/>
        </a:bodyPr>
        <a:lstStyle/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700" kern="1200" dirty="0"/>
            <a:t>Открытие </a:t>
          </a:r>
          <a:r>
            <a:rPr lang="ru-RU" sz="2700" kern="1200" dirty="0" err="1"/>
            <a:t>Инж.школы</a:t>
          </a:r>
          <a:r>
            <a:rPr lang="ru-RU" sz="2700" kern="1200" dirty="0"/>
            <a:t> </a:t>
          </a:r>
          <a:r>
            <a:rPr lang="ru-RU" sz="2700" kern="1200" dirty="0" smtClean="0"/>
            <a:t>УГМК   (05-08 октября)</a:t>
          </a:r>
          <a:endParaRPr lang="ru-RU" sz="2700" kern="1200" dirty="0"/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700" kern="1200" dirty="0"/>
            <a:t>Посвящение в ученики </a:t>
          </a:r>
          <a:r>
            <a:rPr lang="ru-RU" sz="2700" kern="1200" dirty="0" err="1"/>
            <a:t>Инж.школы</a:t>
          </a:r>
          <a:r>
            <a:rPr lang="ru-RU" sz="2700" kern="1200" dirty="0"/>
            <a:t> УГМК (ноябрь)</a:t>
          </a:r>
        </a:p>
        <a:p>
          <a:pPr marL="228600" lvl="1" indent="-228600" algn="l" defTabSz="1200150">
            <a:lnSpc>
              <a:spcPct val="90000"/>
            </a:lnSpc>
            <a:spcBef>
              <a:spcPct val="0"/>
            </a:spcBef>
            <a:spcAft>
              <a:spcPct val="20000"/>
            </a:spcAft>
            <a:buChar char="••"/>
          </a:pPr>
          <a:r>
            <a:rPr lang="ru-RU" sz="2700" kern="1200" dirty="0"/>
            <a:t>«Инженерная Елка» (декабрь)</a:t>
          </a:r>
        </a:p>
      </dsp:txBody>
      <dsp:txXfrm>
        <a:off x="0" y="2760876"/>
        <a:ext cx="5031516" cy="239292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3">
  <dgm:title val=""/>
  <dgm:desc val=""/>
  <dgm:catLst>
    <dgm:cat type="process" pri="18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ircleList">
  <dgm:title val=""/>
  <dgm:desc val=""/>
  <dgm:catLst>
    <dgm:cat type="list" pri="23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41" srcId="1" destId="11" srcOrd="0" destOrd="0"/>
        <dgm:cxn modelId="42" srcId="1" destId="12" srcOrd="1" destOrd="0"/>
        <dgm:cxn modelId="5" srcId="0" destId="2" srcOrd="0" destOrd="0"/>
        <dgm:cxn modelId="51" srcId="2" destId="21" srcOrd="0" destOrd="0"/>
        <dgm:cxn modelId="52" srcId="2" destId="22" srcOrd="1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</dgm:varLst>
    <dgm:alg type="lin">
      <dgm:param type="linDir" val="fromT"/>
      <dgm:param type="fallback" val="2D"/>
    </dgm:alg>
    <dgm:shape xmlns:r="http://schemas.openxmlformats.org/officeDocument/2006/relationships" r:blip="">
      <dgm:adjLst/>
    </dgm:shape>
    <dgm:presOf/>
    <dgm:constrLst>
      <dgm:constr type="w" for="ch" forName="withChildren" refType="w"/>
      <dgm:constr type="h" for="ch" forName="withChildren" refType="w" fact="0.909"/>
      <dgm:constr type="w" for="ch" forName="noChildren" refType="w"/>
      <dgm:constr type="h" for="ch" forName="noChildren" refType="w" fact="0.164"/>
      <dgm:constr type="w" for="ch" forName="overlap" val="1"/>
      <dgm:constr type="h" for="ch" forName="overlap" refType="w" refFor="ch" refForName="withChildren" fact="-0.089"/>
      <dgm:constr type="primFontSz" for="des" forName="txLvl1" op="equ" val="65"/>
      <dgm:constr type="primFontSz" for="des" forName="txLvlOnly1" refType="primFontSz" refFor="des" refForName="txLvl1" op="equ"/>
      <dgm:constr type="primFontSz" for="des" forName="txLvl2" refType="primFontSz" refFor="des" refForName="txLvl1" op="equ" fact="0.78"/>
      <dgm:constr type="primFontSz" for="des" forName="txLvl3" refType="primFontSz" refFor="des" refForName="txLvl1" op="equ" fact="0.78"/>
      <dgm:constr type="userF" for="des" forName="lin" refType="primFontSz" refFor="des" refForName="txLvl2" op="equ"/>
    </dgm:constrLst>
    <dgm:forEach name="Name1" axis="ch" ptType="node">
      <dgm:choose name="Name2">
        <dgm:if name="Name3" axis="ch" ptType="node" func="cnt" op="gte" val="1">
          <dgm:layoutNode name="withChildren">
            <dgm:alg type="composite"/>
            <dgm:choose name="Name4">
              <dgm:if name="Name5" func="var" arg="dir" op="equ" val="norm">
                <dgm:constrLst>
                  <dgm:constr type="l" for="ch" forName="bigCircle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l" for="ch" forName="medCircle" refType="w" fact="0.043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 refType="ctrX" refFor="ch" refForName="medCircle"/>
                  <dgm:constr type="r" for="ch" forName="txLvl1" refType="w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 refType="ctrX" refFor="ch" refForName="medCircle"/>
                  <dgm:constr type="r" for="ch" forName="lin" refType="w"/>
                  <dgm:constr type="t" for="ch" forName="lin" refType="h" fact="0.222"/>
                  <dgm:constr type="h" for="ch" forName="lin" refType="h" fact="0.68"/>
                </dgm:constrLst>
              </dgm:if>
              <dgm:else name="Name6">
                <dgm:constrLst>
                  <dgm:constr type="r" for="ch" forName="bigCircle" refType="w"/>
                  <dgm:constr type="w" for="ch" forName="bigCircle" refType="h" refFor="ch" refForName="bigCircle"/>
                  <dgm:constr type="t" for="ch" forName="bigCircle"/>
                  <dgm:constr type="h" for="ch" forName="bigCircle" refType="h"/>
                  <dgm:constr type="r" for="ch" forName="medCircle" refType="w" fact="0.957"/>
                  <dgm:constr type="w" for="ch" forName="medCircle" refType="h" refFor="ch" refForName="medCircle"/>
                  <dgm:constr type="t" for="ch" forName="medCircle" refType="h" fact="0.042"/>
                  <dgm:constr type="h" for="ch" forName="medCircle" refType="h" fact="0.18"/>
                  <dgm:constr type="l" for="ch" forName="txLvl1"/>
                  <dgm:constr type="r" for="ch" forName="txLvl1" refType="ctrX" refFor="ch" refForName="medCircle"/>
                  <dgm:constr type="h" for="ch" forName="txLvl1" refType="h" refFor="ch" refForName="medCircle"/>
                  <dgm:constr type="t" for="ch" forName="txLvl1" refType="t" refFor="ch" refForName="medCircle"/>
                  <dgm:constr type="l" for="ch" forName="lin"/>
                  <dgm:constr type="r" for="ch" forName="lin" refType="ctrX" refFor="ch" refForName="medCircle"/>
                  <dgm:constr type="t" for="ch" forName="lin" refType="h" fact="0.222"/>
                  <dgm:constr type="h" for="ch" forName="lin" refType="h" fact="0.68"/>
                </dgm:constrLst>
              </dgm:else>
            </dgm:choose>
            <dgm:layoutNode name="big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medCircle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1" styleLbl="revTx">
              <dgm:choose name="Name7">
                <dgm:if name="Name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lin">
              <dgm:choose name="Name10">
                <dgm:if name="Name11" func="var" arg="dir" op="equ" val="norm">
                  <dgm:alg type="lin">
                    <dgm:param type="linDir" val="fromT"/>
                    <dgm:param type="vertAlign" val="t"/>
                    <dgm:param type="nodeHorzAlign" val="l"/>
                  </dgm:alg>
                </dgm:if>
                <dgm:else name="Name12">
                  <dgm:alg type="lin">
                    <dgm:param type="linDir" val="fromT"/>
                    <dgm:param type="vertAlign" val="t"/>
                    <dgm:param type="nodeHorzAlign" val="r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constrLst>
                <dgm:constr type="userF"/>
                <dgm:constr type="primFontSz" for="ch" forName="txLvl2" refType="userF"/>
                <dgm:constr type="w" for="ch" forName="txLvl2" refType="w"/>
                <dgm:constr type="h" for="ch" forName="txLvl2" refType="primFontSz" refFor="ch" refForName="txLvl2" fact="0.39"/>
                <dgm:constr type="w" for="ch" forName="txLvl3" refType="w"/>
                <dgm:constr type="h" for="ch" forName="txLvl3" refType="primFontSz" refFor="ch" refForName="txLvl2" fact="0.39"/>
                <dgm:constr type="h" for="ch" forName="smCircle" refType="primFontSz" refFor="ch" refForName="txLvl2" fact="0.14"/>
                <dgm:constr type="h" for="ch" forName="indentDot1" refType="primFontSz" refFor="ch" refForName="txLvl2" fact="0.14"/>
                <dgm:constr type="h" for="ch" forName="indentDot2" refType="primFontSz" refFor="ch" refForName="txLvl2" fact="0.14"/>
                <dgm:constr type="h" for="ch" forName="indentDot3" refType="primFontSz" refFor="ch" refForName="txLvl2" fact="0.14"/>
                <dgm:constr type="w" for="ch" forName="indentDot1" refType="w"/>
                <dgm:constr type="w" for="ch" forName="indentDot2" refType="w"/>
                <dgm:constr type="w" for="ch" forName="indentDot3" refType="w"/>
                <dgm:constr type="userI" for="ch" forName="txLvl3" refType="primFontSz" refFor="ch" refForName="txLvl2" fact="0.14"/>
                <dgm:constr type="userI" for="ch" forName="indentDot1" refType="primFontSz" refFor="ch" refForName="txLvl2" fact="0.14"/>
                <dgm:constr type="userI" for="ch" forName="indentDot2" refType="primFontSz" refFor="ch" refForName="txLvl2" fact="0.14"/>
                <dgm:constr type="userI" for="ch" forName="indentDot3" refType="primFontSz" refFor="ch" refForName="txLvl2" fact="0.14"/>
              </dgm:constrLst>
              <dgm:ruleLst>
                <dgm:rule type="primFontSz" for="ch" forName="txLvl2" val="5" fact="NaN" max="NaN"/>
              </dgm:ruleLst>
              <dgm:forEach name="Name13" axis="ch" ptType="node">
                <dgm:layoutNode name="txLvl2" styleLbl="revTx">
                  <dgm:choose name="Name14">
                    <dgm:if name="Name15" func="var" arg="dir" op="equ" val="norm">
                      <dgm:alg type="tx">
                        <dgm:param type="parTxLTRAlign" val="l"/>
                        <dgm:param type="parTxRTLAlign" val="l"/>
                      </dgm:alg>
                    </dgm:if>
                    <dgm:else name="Name16">
                      <dgm:alg type="tx">
                        <dgm:param type="parTxLTRAlign" val="r"/>
                        <dgm:param type="parTxRTLAlign" val="r"/>
                      </dgm:alg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self" ptType="node"/>
                  <dgm:constrLst>
                    <dgm:constr type="lMarg"/>
                    <dgm:constr type="rMarg"/>
                    <dgm:constr type="tMarg" refType="primFontSz" fact="0.1"/>
                    <dgm:constr type="bMarg" refType="primFontSz" fact="0.1"/>
                  </dgm:constrLst>
                  <dgm:ruleLst>
                    <dgm:rule type="h" val="INF" fact="NaN" max="NaN"/>
                  </dgm:ruleLst>
                </dgm:layoutNode>
                <dgm:forEach name="Name17" axis="ch" ptType="node" cnt="1">
                  <dgm:layoutNode name="indentDot1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hoose name="Name18">
                      <dgm:if name="Name19" func="var" arg="dir" op="equ" val="norm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l" for="ch" forName="smCircle1" refType="r" refFor="ch" refForName="gap1"/>
                        </dgm:constrLst>
                      </dgm:if>
                      <dgm:else name="Name20">
                        <dgm:constrLst>
                          <dgm:constr type="userI"/>
                          <dgm:constr type="w" for="ch" forName="gap1" refType="userI" fact="3"/>
                          <dgm:constr type="w" for="ch" forName="smCircle1" refType="h"/>
                          <dgm:constr type="r" for="ch" forName="smCircle1" refType="l" refFor="ch" refForName="gap1"/>
                        </dgm:constrLst>
                      </dgm:else>
                    </dgm:choose>
                    <dgm:layoutNode name="gap1">
                      <dgm:alg type="sp"/>
                      <dgm:shape xmlns:r="http://schemas.openxmlformats.org/officeDocument/2006/relationships" type="rect" r:blip="" hideGeom="1">
                        <dgm:adjLst/>
                      </dgm:shape>
                      <dgm:presOf/>
                    </dgm:layoutNode>
                    <dgm:layoutNode name="smCircle1" styleLbl="vennNode1">
                      <dgm:alg type="sp"/>
                      <dgm:shape xmlns:r="http://schemas.openxmlformats.org/officeDocument/2006/relationships" type="ellipse" r:blip="">
                        <dgm:adjLst/>
                      </dgm:shape>
                      <dgm:presOf/>
                      <dgm:constrLst>
                        <dgm:constr type="w" refType="h"/>
                      </dgm:constrLst>
                    </dgm:layoutNode>
                  </dgm:layoutNode>
                </dgm:forEach>
                <dgm:forEach name="Name21" axis="ch" ptType="node">
                  <dgm:layoutNode name="txLvl3" styleLbl="revTx">
                    <dgm:varLst>
                      <dgm:bulletEnabled val="1"/>
                    </dgm:varLst>
                    <dgm:choose name="Name22">
                      <dgm:if name="Name23" func="var" arg="dir" op="equ" val="norm">
                        <dgm:alg type="tx">
                          <dgm:param type="parTxLTRAlign" val="l"/>
                          <dgm:param type="parTxRTLAlign" val="l"/>
                          <dgm:param type="shpTxLTRAlignCh" val="l"/>
                          <dgm:param type="shpTxRTLAlignCh" val="l"/>
                        </dgm:alg>
                      </dgm:if>
                      <dgm:else name="Name24">
                        <dgm:alg type="tx">
                          <dgm:param type="parTxLTRAlign" val="r"/>
                          <dgm:param type="parTxRTLAlign" val="r"/>
                          <dgm:param type="shpTxLTRAlignCh" val="r"/>
                          <dgm:param type="shpTxRTLAlignCh" val="r"/>
                        </dgm:alg>
                      </dgm:else>
                    </dgm:choose>
                    <dgm:shape xmlns:r="http://schemas.openxmlformats.org/officeDocument/2006/relationships" type="rect" r:blip="">
                      <dgm:adjLst/>
                    </dgm:shape>
                    <dgm:presOf axis="desOrSelf" ptType="node"/>
                    <dgm:choose name="Name25">
                      <dgm:if name="Name26" func="var" arg="dir" op="equ" val="norm">
                        <dgm:constrLst>
                          <dgm:constr type="userI"/>
                          <dgm:constr type="lMarg" refType="userI" fact="8.504"/>
                          <dgm:constr type="rMarg"/>
                          <dgm:constr type="tMarg" refType="primFontSz" fact="0.1"/>
                          <dgm:constr type="bMarg" refType="primFontSz" fact="0.1"/>
                        </dgm:constrLst>
                      </dgm:if>
                      <dgm:else name="Name27">
                        <dgm:constrLst>
                          <dgm:constr type="userI"/>
                          <dgm:constr type="lMarg"/>
                          <dgm:constr type="rMarg" refType="userI" fact="8.504"/>
                          <dgm:constr type="tMarg" refType="primFontSz" fact="0.1"/>
                          <dgm:constr type="bMarg" refType="primFontSz" fact="0.1"/>
                        </dgm:constrLst>
                      </dgm:else>
                    </dgm:choose>
                    <dgm:ruleLst>
                      <dgm:rule type="h" val="INF" fact="NaN" max="NaN"/>
                    </dgm:ruleLst>
                  </dgm:layoutNode>
                  <dgm:forEach name="Name28" axis="followSib" ptType="sibTrans" cnt="1">
                    <dgm:layoutNode name="indentDot2">
                      <dgm:alg type="composite"/>
                      <dgm:shape xmlns:r="http://schemas.openxmlformats.org/officeDocument/2006/relationships" r:blip="">
                        <dgm:adjLst/>
                      </dgm:shape>
                      <dgm:presOf/>
                      <dgm:choose name="Name29">
                        <dgm:if name="Name30" func="var" arg="dir" op="equ" val="norm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l" for="ch" forName="smCircle2" refType="r" refFor="ch" refForName="gap2"/>
                          </dgm:constrLst>
                        </dgm:if>
                        <dgm:else name="Name31">
                          <dgm:constrLst>
                            <dgm:constr type="userI"/>
                            <dgm:constr type="w" for="ch" forName="gap2" refType="userI" fact="3"/>
                            <dgm:constr type="w" for="ch" forName="smCircle2" refType="h"/>
                            <dgm:constr type="r" for="ch" forName="smCircle2" refType="l" refFor="ch" refForName="gap2"/>
                          </dgm:constrLst>
                        </dgm:else>
                      </dgm:choose>
                      <dgm:layoutNode name="gap2">
                        <dgm:alg type="sp"/>
                        <dgm:shape xmlns:r="http://schemas.openxmlformats.org/officeDocument/2006/relationships" type="rect" r:blip="" hideGeom="1">
                          <dgm:adjLst/>
                        </dgm:shape>
                        <dgm:presOf/>
                      </dgm:layoutNode>
                      <dgm:layoutNode name="smCircle2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layoutNode>
                  </dgm:forEach>
                </dgm:forEach>
                <dgm:choose name="Name32">
                  <dgm:if name="Name33" axis="ch" ptType="node" func="cnt" op="gte" val="1">
                    <dgm:forEach name="Name34" axis="followSib" ptType="sibTrans" cnt="1">
                      <dgm:layoutNode name="indentDot3">
                        <dgm:alg type="composite"/>
                        <dgm:shape xmlns:r="http://schemas.openxmlformats.org/officeDocument/2006/relationships" r:blip="">
                          <dgm:adjLst/>
                        </dgm:shape>
                        <dgm:presOf/>
                        <dgm:choose name="Name35">
                          <dgm:if name="Name36" func="var" arg="dir" op="equ" val="norm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l" for="ch" forName="smCircle3" refType="r" refFor="ch" refForName="gap3"/>
                            </dgm:constrLst>
                          </dgm:if>
                          <dgm:else name="Name37">
                            <dgm:constrLst>
                              <dgm:constr type="userI"/>
                              <dgm:constr type="w" for="ch" forName="gap3" refType="userI" fact="3"/>
                              <dgm:constr type="w" for="ch" forName="smCircle3" refType="h"/>
                              <dgm:constr type="r" for="ch" forName="smCircle3" refType="l" refFor="ch" refForName="gap3"/>
                            </dgm:constrLst>
                          </dgm:else>
                        </dgm:choose>
                        <dgm:layoutNode name="gap3">
                          <dgm:alg type="sp"/>
                          <dgm:shape xmlns:r="http://schemas.openxmlformats.org/officeDocument/2006/relationships" type="rect" r:blip="" hideGeom="1">
                            <dgm:adjLst/>
                          </dgm:shape>
                          <dgm:presOf/>
                        </dgm:layoutNode>
                        <dgm:layoutNode name="smCircle3" styleLbl="vennNode1">
                          <dgm:alg type="sp"/>
                          <dgm:shape xmlns:r="http://schemas.openxmlformats.org/officeDocument/2006/relationships" type="ellipse" r:blip="">
                            <dgm:adjLst/>
                          </dgm:shape>
                          <dgm:presOf/>
                          <dgm:constrLst>
                            <dgm:constr type="w" refType="h"/>
                          </dgm:constrLst>
                        </dgm:layoutNode>
                      </dgm:layoutNode>
                    </dgm:forEach>
                  </dgm:if>
                  <dgm:else name="Name38">
                    <dgm:forEach name="Name39" axis="followSib" ptType="sibTrans" cnt="1">
                      <dgm:layoutNode name="smCircle" styleLbl="vennNode1">
                        <dgm:alg type="sp"/>
                        <dgm:shape xmlns:r="http://schemas.openxmlformats.org/officeDocument/2006/relationships" type="ellipse" r:blip="">
                          <dgm:adjLst/>
                        </dgm:shape>
                        <dgm:presOf/>
                        <dgm:constrLst>
                          <dgm:constr type="w" refType="h"/>
                        </dgm:constrLst>
                      </dgm:layoutNode>
                    </dgm:forEach>
                  </dgm:else>
                </dgm:choose>
              </dgm:forEach>
            </dgm:layoutNode>
          </dgm:layoutNode>
          <dgm:choose name="Name40">
            <dgm:if name="Name41" axis="followSib ch" ptType="node node" cnt="1 0" func="cnt" op="gte" val="1">
              <dgm:layoutNode name="overlap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</dgm:if>
            <dgm:else name="Name42"/>
          </dgm:choose>
        </dgm:if>
        <dgm:else name="Name43">
          <dgm:layoutNode name="noChildren">
            <dgm:alg type="composite"/>
            <dgm:choose name="Name44">
              <dgm:if name="Name45" func="var" arg="dir" op="equ" val="norm">
                <dgm:constrLst>
                  <dgm:constr type="l" for="ch" forName="gap"/>
                  <dgm:constr type="w" for="ch" forName="gap" refType="w" fact="0.043"/>
                  <dgm:constr type="h" for="ch" forName="gap" refType="h"/>
                  <dgm:constr type="t" for="ch" forName="gap"/>
                  <dgm:constr type="l" for="ch" forName="medCircle2" refType="r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 refType="ctrX" refFor="ch" refForName="medCircle2"/>
                  <dgm:constr type="r" for="ch" forName="txLvlOnly1" refType="w"/>
                  <dgm:constr type="h" for="ch" forName="txLvlOnly1" refType="h"/>
                  <dgm:constr type="t" for="ch" forName="txLvlOnly1"/>
                </dgm:constrLst>
              </dgm:if>
              <dgm:else name="Name46">
                <dgm:constrLst>
                  <dgm:constr type="r" for="ch" forName="gap" refType="w"/>
                  <dgm:constr type="w" for="ch" forName="gap" refType="w" fact="0.043"/>
                  <dgm:constr type="h" for="ch" forName="gap" refType="h"/>
                  <dgm:constr type="t" for="ch" forName="gap"/>
                  <dgm:constr type="r" for="ch" forName="medCircle2" refType="l" refFor="ch" refForName="gap"/>
                  <dgm:constr type="w" for="ch" forName="medCircle2" refType="h" refFor="ch" refForName="medCircle2"/>
                  <dgm:constr type="t" for="ch" forName="medCircle2"/>
                  <dgm:constr type="h" for="ch" forName="medCircle2" refType="h"/>
                  <dgm:constr type="l" for="ch" forName="txLvlOnly1"/>
                  <dgm:constr type="r" for="ch" forName="txLvlOnly1" refType="ctrX" refFor="ch" refForName="medCircle2"/>
                  <dgm:constr type="h" for="ch" forName="txLvlOnly1" refType="h"/>
                  <dgm:constr type="t" for="ch" forName="txLvlOnly1"/>
                </dgm:constrLst>
              </dgm:else>
            </dgm:choose>
            <dgm:layoutNode name="gap">
              <dgm:alg type="sp"/>
              <dgm:shape xmlns:r="http://schemas.openxmlformats.org/officeDocument/2006/relationships" r:blip="">
                <dgm:adjLst/>
              </dgm:shape>
              <dgm:presOf/>
            </dgm:layoutNode>
            <dgm:layoutNode name="medCircle2" styleLbl="vennNode1">
              <dgm:alg type="sp"/>
              <dgm:shape xmlns:r="http://schemas.openxmlformats.org/officeDocument/2006/relationships" type="ellipse" r:blip="">
                <dgm:adjLst/>
              </dgm:shape>
              <dgm:presOf/>
              <dgm:constrLst>
                <dgm:constr type="w" refType="h"/>
              </dgm:constrLst>
            </dgm:layoutNode>
            <dgm:layoutNode name="txLvlOnly1" styleLbl="revTx">
              <dgm:choose name="Name47">
                <dgm:if name="Name48" func="var" arg="dir" op="equ" val="norm">
                  <dgm:alg type="tx">
                    <dgm:param type="parTxLTRAlign" val="l"/>
                    <dgm:param type="parTxRTLAlign" val="l"/>
                  </dgm:alg>
                </dgm:if>
                <dgm:else name="Name49">
                  <dgm:alg type="tx">
                    <dgm:param type="parTxLTRAlign" val="r"/>
                    <dgm:param type="parTxRTLAlign" val="r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self" ptType="node"/>
              <dgm:constrLst>
                <dgm:constr type="lMarg"/>
                <dgm:constr type="rMarg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</dgm:layoutNod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0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9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5400FBA-3B4D-594C-9C95-852DB6F34EF1}" type="datetimeFigureOut">
              <a:rPr lang="ru-RU" smtClean="0"/>
              <a:t>13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1C0842-6D7A-3748-8A63-0F77479CA0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03705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png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6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3.bin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6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18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1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png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6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22.png"/><Relationship Id="rId5" Type="http://schemas.openxmlformats.org/officeDocument/2006/relationships/image" Target="../media/image24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22.png"/><Relationship Id="rId5" Type="http://schemas.openxmlformats.org/officeDocument/2006/relationships/image" Target="../media/image25.emf"/><Relationship Id="rId4" Type="http://schemas.openxmlformats.org/officeDocument/2006/relationships/oleObject" Target="../embeddings/oleObject2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28.emf"/><Relationship Id="rId4" Type="http://schemas.openxmlformats.org/officeDocument/2006/relationships/oleObject" Target="../embeddings/oleObject2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3.png"/><Relationship Id="rId5" Type="http://schemas.openxmlformats.org/officeDocument/2006/relationships/image" Target="../media/image29.emf"/><Relationship Id="rId4" Type="http://schemas.openxmlformats.org/officeDocument/2006/relationships/oleObject" Target="../embeddings/oleObject27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3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28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3.png"/><Relationship Id="rId5" Type="http://schemas.openxmlformats.org/officeDocument/2006/relationships/image" Target="../media/image31.emf"/><Relationship Id="rId4" Type="http://schemas.openxmlformats.org/officeDocument/2006/relationships/oleObject" Target="../embeddings/oleObject29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3.png"/><Relationship Id="rId5" Type="http://schemas.openxmlformats.org/officeDocument/2006/relationships/image" Target="../media/image32.emf"/><Relationship Id="rId4" Type="http://schemas.openxmlformats.org/officeDocument/2006/relationships/oleObject" Target="../embeddings/oleObject3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3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3.png"/><Relationship Id="rId5" Type="http://schemas.openxmlformats.org/officeDocument/2006/relationships/image" Target="../media/image34.emf"/><Relationship Id="rId4" Type="http://schemas.openxmlformats.org/officeDocument/2006/relationships/oleObject" Target="../embeddings/oleObject3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3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3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3.png"/><Relationship Id="rId5" Type="http://schemas.openxmlformats.org/officeDocument/2006/relationships/image" Target="../media/image36.emf"/><Relationship Id="rId4" Type="http://schemas.openxmlformats.org/officeDocument/2006/relationships/oleObject" Target="../embeddings/oleObject3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3.png"/><Relationship Id="rId5" Type="http://schemas.openxmlformats.org/officeDocument/2006/relationships/image" Target="../media/image37.emf"/><Relationship Id="rId4" Type="http://schemas.openxmlformats.org/officeDocument/2006/relationships/oleObject" Target="../embeddings/oleObject3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3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6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3.png"/><Relationship Id="rId5" Type="http://schemas.openxmlformats.org/officeDocument/2006/relationships/image" Target="../media/image39.emf"/><Relationship Id="rId4" Type="http://schemas.openxmlformats.org/officeDocument/2006/relationships/oleObject" Target="../embeddings/oleObject37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3.png"/><Relationship Id="rId5" Type="http://schemas.openxmlformats.org/officeDocument/2006/relationships/image" Target="../media/image40.emf"/><Relationship Id="rId4" Type="http://schemas.openxmlformats.org/officeDocument/2006/relationships/oleObject" Target="../embeddings/oleObject3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39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0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3.png"/><Relationship Id="rId5" Type="http://schemas.openxmlformats.org/officeDocument/2006/relationships/image" Target="../media/image41.emf"/><Relationship Id="rId4" Type="http://schemas.openxmlformats.org/officeDocument/2006/relationships/oleObject" Target="../embeddings/oleObject41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3.png"/><Relationship Id="rId5" Type="http://schemas.openxmlformats.org/officeDocument/2006/relationships/image" Target="../media/image42.emf"/><Relationship Id="rId4" Type="http://schemas.openxmlformats.org/officeDocument/2006/relationships/oleObject" Target="../embeddings/oleObject42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6.png"/><Relationship Id="rId5" Type="http://schemas.openxmlformats.org/officeDocument/2006/relationships/image" Target="../media/image19.emf"/><Relationship Id="rId4" Type="http://schemas.openxmlformats.org/officeDocument/2006/relationships/oleObject" Target="../embeddings/oleObject43.bin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6.png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C0AA46F0-EFAB-2347-98F5-5E55DE446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716199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>
            <a:extLst>
              <a:ext uri="{FF2B5EF4-FFF2-40B4-BE49-F238E27FC236}">
                <a16:creationId xmlns:a16="http://schemas.microsoft.com/office/drawing/2014/main" id="{BC9D3F86-46AF-B148-81A5-CE22C9BB660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763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</p:spTree>
    <p:extLst>
      <p:ext uri="{BB962C8B-B14F-4D97-AF65-F5344CB8AC3E}">
        <p14:creationId xmlns:p14="http://schemas.microsoft.com/office/powerpoint/2010/main" val="18385868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00137109-3779-E74D-A50A-BAD2E6958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1063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83C1CB54-B30C-8443-AF30-7FD7D4FB9756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D9E37F7E-C336-9643-AC5D-D0FE6DDD67EF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6C324F41-AF03-884E-8654-6E6664AB8733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12D1BF3-1C93-CE45-8DB2-34E0032C5AC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470E4419-0151-D940-97ED-C434154021D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5CA5854-7C33-0F4E-9038-C1C13F4ABB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81D8B47-EB7C-6649-BF93-51455D9DB8B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83FD54A-88D9-B845-A3A6-718A291D696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F921445E-F72C-C24D-90CE-E133ECE97A0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2B306DE-382D-7849-B66D-0EEE39DFB747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4867360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2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9CBA11B-339F-4343-A51B-93F6F783B1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335543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5D8B76D-246E-4242-9780-F969AA656163}"/>
              </a:ext>
            </a:extLst>
          </p:cNvPr>
          <p:cNvSpPr/>
          <p:nvPr userDrawn="1"/>
        </p:nvSpPr>
        <p:spPr>
          <a:xfrm>
            <a:off x="5608219" y="0"/>
            <a:ext cx="6583781" cy="6858000"/>
          </a:xfrm>
          <a:custGeom>
            <a:avLst/>
            <a:gdLst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1171022 w 6583781"/>
              <a:gd name="connsiteY4" fmla="*/ 3414392 h 6858000"/>
              <a:gd name="connsiteX5" fmla="*/ 0 w 6583781"/>
              <a:gd name="connsiteY5" fmla="*/ 0 h 6858000"/>
              <a:gd name="connsiteX0" fmla="*/ 0 w 6583781"/>
              <a:gd name="connsiteY0" fmla="*/ 0 h 6858000"/>
              <a:gd name="connsiteX1" fmla="*/ 6583781 w 6583781"/>
              <a:gd name="connsiteY1" fmla="*/ 0 h 6858000"/>
              <a:gd name="connsiteX2" fmla="*/ 6583781 w 6583781"/>
              <a:gd name="connsiteY2" fmla="*/ 6858000 h 6858000"/>
              <a:gd name="connsiteX3" fmla="*/ 30423 w 6583781"/>
              <a:gd name="connsiteY3" fmla="*/ 6858000 h 6858000"/>
              <a:gd name="connsiteX4" fmla="*/ 889668 w 6583781"/>
              <a:gd name="connsiteY4" fmla="*/ 3431977 h 6858000"/>
              <a:gd name="connsiteX5" fmla="*/ 0 w 658378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83781" h="6858000">
                <a:moveTo>
                  <a:pt x="0" y="0"/>
                </a:moveTo>
                <a:lnTo>
                  <a:pt x="6583781" y="0"/>
                </a:lnTo>
                <a:lnTo>
                  <a:pt x="6583781" y="6858000"/>
                </a:lnTo>
                <a:lnTo>
                  <a:pt x="30423" y="6858000"/>
                </a:lnTo>
                <a:lnTo>
                  <a:pt x="889668" y="3431977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B6BCBCD4-687C-B942-A7C2-195FA422A45D}"/>
              </a:ext>
            </a:extLst>
          </p:cNvPr>
          <p:cNvGrpSpPr/>
          <p:nvPr userDrawn="1"/>
        </p:nvGrpSpPr>
        <p:grpSpPr>
          <a:xfrm>
            <a:off x="5436180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44BEE77A-ECE5-9849-966B-ADB933E20C5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3160A6F8-107F-B64B-9A0D-D4C75BA521F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A3DCF0A5-E023-7044-BA92-FB88CBEF226D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0CDC513E-0CE6-1F41-8110-6F28BDD1B7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453029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D611BEAC-70B9-344B-A434-68FE15195B1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8" y="6359240"/>
            <a:ext cx="4484244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EFE53861-EA93-B74C-83AD-DDA0FF9DF0D7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0D4C207-E31F-0D4F-B51E-43EF9953B4D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F0036A70-831E-A143-B5D4-B6AB77EC5AF4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3763852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B73C5764-6228-A64E-8D79-ACA932C1457A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7E450DD2-28F5-D947-A104-00BF2053FC43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DBAFEF0B-B938-F747-AA7D-B42D5762CA6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95B84EB3-72B9-E24B-83A0-B4E4F32A624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2B0DC16F-F84B-834E-9351-53EC390BD1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2D5A29B1-A881-4045-93B2-D4CD3FFCD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4FCF6F75-CDFE-5949-A756-FBF1DFE0E34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0BB92506-89F4-1C47-BC01-EF0FC7D21D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AAEA8BC5-FDA6-2F47-A42D-A1F412C3582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7440636-FBEA-9C4A-BD85-538C703A413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3546063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1/3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28AC313-AE0F-7240-97AF-55E3100A0A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344305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3E4394A5-8516-5C4F-93B1-59FD8825F990}"/>
              </a:ext>
            </a:extLst>
          </p:cNvPr>
          <p:cNvSpPr/>
          <p:nvPr userDrawn="1"/>
        </p:nvSpPr>
        <p:spPr>
          <a:xfrm>
            <a:off x="7867461" y="0"/>
            <a:ext cx="4324539" cy="6858000"/>
          </a:xfrm>
          <a:custGeom>
            <a:avLst/>
            <a:gdLst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1171022 w 4238145"/>
              <a:gd name="connsiteY4" fmla="*/ 3414392 h 6858000"/>
              <a:gd name="connsiteX5" fmla="*/ 0 w 4238145"/>
              <a:gd name="connsiteY5" fmla="*/ 0 h 6858000"/>
              <a:gd name="connsiteX0" fmla="*/ 0 w 4238145"/>
              <a:gd name="connsiteY0" fmla="*/ 0 h 6858000"/>
              <a:gd name="connsiteX1" fmla="*/ 4238145 w 4238145"/>
              <a:gd name="connsiteY1" fmla="*/ 0 h 6858000"/>
              <a:gd name="connsiteX2" fmla="*/ 4238145 w 4238145"/>
              <a:gd name="connsiteY2" fmla="*/ 6858000 h 6858000"/>
              <a:gd name="connsiteX3" fmla="*/ 30423 w 4238145"/>
              <a:gd name="connsiteY3" fmla="*/ 6858000 h 6858000"/>
              <a:gd name="connsiteX4" fmla="*/ 863204 w 4238145"/>
              <a:gd name="connsiteY4" fmla="*/ 3414392 h 6858000"/>
              <a:gd name="connsiteX5" fmla="*/ 0 w 4238145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238145" h="6858000">
                <a:moveTo>
                  <a:pt x="0" y="0"/>
                </a:moveTo>
                <a:lnTo>
                  <a:pt x="4238145" y="0"/>
                </a:lnTo>
                <a:lnTo>
                  <a:pt x="4238145" y="6858000"/>
                </a:lnTo>
                <a:lnTo>
                  <a:pt x="30423" y="6858000"/>
                </a:lnTo>
                <a:lnTo>
                  <a:pt x="863204" y="3414392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AC4DF46C-98E3-5A40-9CAE-0AA278B874A6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8A8AECCE-0BAB-984D-A823-45462B988A3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099A9C1-5BA1-6246-BE47-2388262AA189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25B0F6C8-091D-BD40-97D5-F53C86A20C4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A903A132-9B07-D44A-AFDD-0E7A30FD3C3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5" y="402822"/>
            <a:ext cx="679450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F716540C-C742-1342-996B-E961D68B104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3C37F96A-3E4F-BA4B-8A1A-82AEC35CA16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536D87D8-A92A-0646-8EF1-4BC826D6A08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3AA01FA-BEAB-E54B-8013-4B0CB49E6A59}"/>
              </a:ext>
            </a:extLst>
          </p:cNvPr>
          <p:cNvSpPr/>
          <p:nvPr userDrawn="1"/>
        </p:nvSpPr>
        <p:spPr>
          <a:xfrm>
            <a:off x="8730916" y="6403462"/>
            <a:ext cx="230555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012619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380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863A2C5F-D0EF-2345-8BA6-AB26C145E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18515" y="605322"/>
            <a:ext cx="1433478" cy="478065"/>
          </a:xfrm>
          <a:prstGeom prst="rect">
            <a:avLst/>
          </a:prstGeom>
        </p:spPr>
      </p:pic>
      <p:sp>
        <p:nvSpPr>
          <p:cNvPr id="14" name="Рисунок 21">
            <a:extLst>
              <a:ext uri="{FF2B5EF4-FFF2-40B4-BE49-F238E27FC236}">
                <a16:creationId xmlns:a16="http://schemas.microsoft.com/office/drawing/2014/main" id="{B66BD355-4C68-494D-AEE1-A0EDEC8B03F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17201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911070" y="3430278"/>
                </a:lnTo>
                <a:lnTo>
                  <a:pt x="0" y="22866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6EF3C153-09A8-9E4A-BBBA-B55EAC5E8C9F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639392A-FFBB-9145-9448-768616538149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F91A37A8-FD0D-A44E-84D1-F8FCE194948A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906021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стрелка и фото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3418977-67EB-1441-B7C6-146BA8BA78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910712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49997" y="-5014"/>
            <a:ext cx="7331601" cy="686575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911070 w 7317201"/>
              <a:gd name="connsiteY5" fmla="*/ 3430278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53201"/>
              <a:gd name="connsiteY0" fmla="*/ 3590 h 6844239"/>
              <a:gd name="connsiteX1" fmla="*/ 7353201 w 7353201"/>
              <a:gd name="connsiteY1" fmla="*/ 0 h 6844239"/>
              <a:gd name="connsiteX2" fmla="*/ 7353201 w 7353201"/>
              <a:gd name="connsiteY2" fmla="*/ 6844239 h 6844239"/>
              <a:gd name="connsiteX3" fmla="*/ 36000 w 7353201"/>
              <a:gd name="connsiteY3" fmla="*/ 6844239 h 6844239"/>
              <a:gd name="connsiteX4" fmla="*/ 36000 w 7353201"/>
              <a:gd name="connsiteY4" fmla="*/ 6825611 h 6844239"/>
              <a:gd name="connsiteX5" fmla="*/ 947070 w 7353201"/>
              <a:gd name="connsiteY5" fmla="*/ 3430278 h 6844239"/>
              <a:gd name="connsiteX6" fmla="*/ 36000 w 7353201"/>
              <a:gd name="connsiteY6" fmla="*/ 22866 h 6844239"/>
              <a:gd name="connsiteX7" fmla="*/ 0 w 7353201"/>
              <a:gd name="connsiteY7" fmla="*/ 3590 h 6844239"/>
              <a:gd name="connsiteX0" fmla="*/ 0 w 7353201"/>
              <a:gd name="connsiteY0" fmla="*/ 5854 h 6846503"/>
              <a:gd name="connsiteX1" fmla="*/ 7353201 w 7353201"/>
              <a:gd name="connsiteY1" fmla="*/ 2264 h 6846503"/>
              <a:gd name="connsiteX2" fmla="*/ 7353201 w 7353201"/>
              <a:gd name="connsiteY2" fmla="*/ 6846503 h 6846503"/>
              <a:gd name="connsiteX3" fmla="*/ 36000 w 7353201"/>
              <a:gd name="connsiteY3" fmla="*/ 6846503 h 6846503"/>
              <a:gd name="connsiteX4" fmla="*/ 36000 w 7353201"/>
              <a:gd name="connsiteY4" fmla="*/ 6827875 h 6846503"/>
              <a:gd name="connsiteX5" fmla="*/ 947070 w 7353201"/>
              <a:gd name="connsiteY5" fmla="*/ 3432542 h 6846503"/>
              <a:gd name="connsiteX6" fmla="*/ 21600 w 7353201"/>
              <a:gd name="connsiteY6" fmla="*/ 0 h 6846503"/>
              <a:gd name="connsiteX7" fmla="*/ 0 w 7353201"/>
              <a:gd name="connsiteY7" fmla="*/ 5854 h 6846503"/>
              <a:gd name="connsiteX0" fmla="*/ 0 w 7331601"/>
              <a:gd name="connsiteY0" fmla="*/ 5854 h 6846503"/>
              <a:gd name="connsiteX1" fmla="*/ 7331601 w 7331601"/>
              <a:gd name="connsiteY1" fmla="*/ 2264 h 6846503"/>
              <a:gd name="connsiteX2" fmla="*/ 7331601 w 7331601"/>
              <a:gd name="connsiteY2" fmla="*/ 6846503 h 6846503"/>
              <a:gd name="connsiteX3" fmla="*/ 14400 w 7331601"/>
              <a:gd name="connsiteY3" fmla="*/ 6846503 h 6846503"/>
              <a:gd name="connsiteX4" fmla="*/ 14400 w 7331601"/>
              <a:gd name="connsiteY4" fmla="*/ 6827875 h 6846503"/>
              <a:gd name="connsiteX5" fmla="*/ 925470 w 7331601"/>
              <a:gd name="connsiteY5" fmla="*/ 3432542 h 6846503"/>
              <a:gd name="connsiteX6" fmla="*/ 0 w 7331601"/>
              <a:gd name="connsiteY6" fmla="*/ 0 h 6846503"/>
              <a:gd name="connsiteX7" fmla="*/ 0 w 7331601"/>
              <a:gd name="connsiteY7" fmla="*/ 5854 h 6846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1601" h="6846503">
                <a:moveTo>
                  <a:pt x="0" y="5854"/>
                </a:moveTo>
                <a:lnTo>
                  <a:pt x="7331601" y="2264"/>
                </a:lnTo>
                <a:lnTo>
                  <a:pt x="7331601" y="6846503"/>
                </a:lnTo>
                <a:lnTo>
                  <a:pt x="14400" y="6846503"/>
                </a:lnTo>
                <a:lnTo>
                  <a:pt x="14400" y="6827875"/>
                </a:lnTo>
                <a:lnTo>
                  <a:pt x="925470" y="3432542"/>
                </a:lnTo>
                <a:lnTo>
                  <a:pt x="0" y="0"/>
                </a:lnTo>
                <a:lnTo>
                  <a:pt x="0" y="5854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2875002"/>
            <a:ext cx="3896360" cy="1107996"/>
          </a:xfrm>
        </p:spPr>
        <p:txBody>
          <a:bodyPr vert="horz" lIns="0" tIns="0" rIns="0" bIns="0" anchor="ctr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4680061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03275" y="6426930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059FC77F-66CA-8846-AABE-186F1F472991}"/>
              </a:ext>
            </a:extLst>
          </p:cNvPr>
          <p:cNvGrpSpPr/>
          <p:nvPr userDrawn="1"/>
        </p:nvGrpSpPr>
        <p:grpSpPr>
          <a:xfrm>
            <a:off x="4653621" y="0"/>
            <a:ext cx="1127505" cy="6876000"/>
            <a:chOff x="3945699" y="0"/>
            <a:chExt cx="1127505" cy="6876000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418D012-354E-E84A-B2B1-A7E7DDF8171B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3387C35-0704-BE4D-BDDD-73124C1021BF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7270D203-0735-5C4D-AAFA-84DB1D3B536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8515" y="605321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25194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E779BB7-786D-0B4A-8EAD-208A20C6C5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50887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Рисунок 3">
            <a:extLst>
              <a:ext uri="{FF2B5EF4-FFF2-40B4-BE49-F238E27FC236}">
                <a16:creationId xmlns:a16="http://schemas.microsoft.com/office/drawing/2014/main" id="{BDF2F980-7605-2C44-92A8-68B22946F9CF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563144"/>
            <a:ext cx="5254066" cy="1661993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634680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6DC2453-126B-714E-9849-6C142052BD65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2770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: плаш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C1CC194-74B6-7545-8CD8-7FDA8524B78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71298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Рисунок 3">
            <a:extLst>
              <a:ext uri="{FF2B5EF4-FFF2-40B4-BE49-F238E27FC236}">
                <a16:creationId xmlns:a16="http://schemas.microsoft.com/office/drawing/2014/main" id="{6B28240E-A3EC-6A43-BADC-A2A9ED5B149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5" y="3436153"/>
            <a:ext cx="5254066" cy="1708354"/>
          </a:xfrm>
        </p:spPr>
        <p:txBody>
          <a:bodyPr vert="horz"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  <a:br>
              <a:rPr lang="ru-RU" dirty="0"/>
            </a:br>
            <a:r>
              <a:rPr lang="ru-RU" dirty="0"/>
              <a:t>В 3 СТРОКИ</a:t>
            </a:r>
          </a:p>
        </p:txBody>
      </p:sp>
      <p:sp>
        <p:nvSpPr>
          <p:cNvPr id="19" name="Текст 18">
            <a:extLst>
              <a:ext uri="{FF2B5EF4-FFF2-40B4-BE49-F238E27FC236}">
                <a16:creationId xmlns:a16="http://schemas.microsoft.com/office/drawing/2014/main" id="{12C2943B-23A6-4A4F-B59D-88F37772CE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66954"/>
            <a:ext cx="527748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4" name="Текст 6">
            <a:extLst>
              <a:ext uri="{FF2B5EF4-FFF2-40B4-BE49-F238E27FC236}">
                <a16:creationId xmlns:a16="http://schemas.microsoft.com/office/drawing/2014/main" id="{7FC04A9B-27B5-CD47-BA41-E6296863E5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5846788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</p:spTree>
    <p:extLst>
      <p:ext uri="{BB962C8B-B14F-4D97-AF65-F5344CB8AC3E}">
        <p14:creationId xmlns:p14="http://schemas.microsoft.com/office/powerpoint/2010/main" val="2336896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131378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11" name="Заголовок 16">
            <a:extLst>
              <a:ext uri="{FF2B5EF4-FFF2-40B4-BE49-F238E27FC236}">
                <a16:creationId xmlns:a16="http://schemas.microsoft.com/office/drawing/2014/main" id="{226960CC-ABF3-CD45-A9CB-8060B570BF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064757"/>
            <a:ext cx="771153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2" name="Текст 18">
            <a:extLst>
              <a:ext uri="{FF2B5EF4-FFF2-40B4-BE49-F238E27FC236}">
                <a16:creationId xmlns:a16="http://schemas.microsoft.com/office/drawing/2014/main" id="{B82306DD-6F41-D247-95E0-843412512A4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5" y="5128363"/>
            <a:ext cx="7745904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sp>
        <p:nvSpPr>
          <p:cNvPr id="14" name="Текст 6">
            <a:extLst>
              <a:ext uri="{FF2B5EF4-FFF2-40B4-BE49-F238E27FC236}">
                <a16:creationId xmlns:a16="http://schemas.microsoft.com/office/drawing/2014/main" id="{414726B7-1ED0-1544-B549-4C1E2C04174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E3A4212F-6126-9942-8871-478C059F4181}"/>
              </a:ext>
            </a:extLst>
          </p:cNvPr>
          <p:cNvGrpSpPr/>
          <p:nvPr userDrawn="1"/>
        </p:nvGrpSpPr>
        <p:grpSpPr>
          <a:xfrm>
            <a:off x="257894" y="3149425"/>
            <a:ext cx="361110" cy="371578"/>
            <a:chOff x="383279" y="3833472"/>
            <a:chExt cx="361110" cy="371578"/>
          </a:xfrm>
        </p:grpSpPr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64E603CC-0647-1245-8FD3-D8996680FD2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3A84CF49-BDC6-D34F-A0B2-5832246D3495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445329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0086FB1A-3CCC-2046-8432-813BAFB595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59629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BC0961D5-807E-F247-9E61-A1A7E3FF9AD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6679815" y="494919"/>
            <a:ext cx="5072664" cy="4816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79319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стер-слайд с цифр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2E150D18-2735-3F4F-B656-268860013B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534432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Скругленный прямоугольник 20">
            <a:extLst>
              <a:ext uri="{FF2B5EF4-FFF2-40B4-BE49-F238E27FC236}">
                <a16:creationId xmlns:a16="http://schemas.microsoft.com/office/drawing/2014/main" id="{FDDCCA04-AB36-CA40-8858-3A88A598261D}"/>
              </a:ext>
            </a:extLst>
          </p:cNvPr>
          <p:cNvSpPr/>
          <p:nvPr userDrawn="1"/>
        </p:nvSpPr>
        <p:spPr>
          <a:xfrm>
            <a:off x="183232" y="394708"/>
            <a:ext cx="344262" cy="344262"/>
          </a:xfrm>
          <a:prstGeom prst="round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8" name="Полилиния 17">
            <a:extLst>
              <a:ext uri="{FF2B5EF4-FFF2-40B4-BE49-F238E27FC236}">
                <a16:creationId xmlns:a16="http://schemas.microsoft.com/office/drawing/2014/main" id="{E2AFA8CC-E203-3B46-8841-08782D6612F8}"/>
              </a:ext>
            </a:extLst>
          </p:cNvPr>
          <p:cNvSpPr/>
          <p:nvPr userDrawn="1"/>
        </p:nvSpPr>
        <p:spPr>
          <a:xfrm>
            <a:off x="0" y="394708"/>
            <a:ext cx="70734" cy="344262"/>
          </a:xfrm>
          <a:custGeom>
            <a:avLst/>
            <a:gdLst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  <a:gd name="connsiteX6" fmla="*/ 0 w 70734"/>
              <a:gd name="connsiteY6" fmla="*/ 0 h 344262"/>
              <a:gd name="connsiteX0" fmla="*/ 0 w 91440"/>
              <a:gd name="connsiteY0" fmla="*/ 0 h 344262"/>
              <a:gd name="connsiteX1" fmla="*/ 13356 w 91440"/>
              <a:gd name="connsiteY1" fmla="*/ 0 h 344262"/>
              <a:gd name="connsiteX2" fmla="*/ 70734 w 91440"/>
              <a:gd name="connsiteY2" fmla="*/ 57378 h 344262"/>
              <a:gd name="connsiteX3" fmla="*/ 70734 w 91440"/>
              <a:gd name="connsiteY3" fmla="*/ 286884 h 344262"/>
              <a:gd name="connsiteX4" fmla="*/ 13356 w 91440"/>
              <a:gd name="connsiteY4" fmla="*/ 344262 h 344262"/>
              <a:gd name="connsiteX5" fmla="*/ 0 w 91440"/>
              <a:gd name="connsiteY5" fmla="*/ 344262 h 344262"/>
              <a:gd name="connsiteX6" fmla="*/ 91440 w 91440"/>
              <a:gd name="connsiteY6" fmla="*/ 91440 h 344262"/>
              <a:gd name="connsiteX0" fmla="*/ 0 w 70734"/>
              <a:gd name="connsiteY0" fmla="*/ 0 h 344262"/>
              <a:gd name="connsiteX1" fmla="*/ 13356 w 70734"/>
              <a:gd name="connsiteY1" fmla="*/ 0 h 344262"/>
              <a:gd name="connsiteX2" fmla="*/ 70734 w 70734"/>
              <a:gd name="connsiteY2" fmla="*/ 57378 h 344262"/>
              <a:gd name="connsiteX3" fmla="*/ 70734 w 70734"/>
              <a:gd name="connsiteY3" fmla="*/ 286884 h 344262"/>
              <a:gd name="connsiteX4" fmla="*/ 13356 w 70734"/>
              <a:gd name="connsiteY4" fmla="*/ 344262 h 344262"/>
              <a:gd name="connsiteX5" fmla="*/ 0 w 70734"/>
              <a:gd name="connsiteY5" fmla="*/ 344262 h 344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734" h="344262">
                <a:moveTo>
                  <a:pt x="0" y="0"/>
                </a:moveTo>
                <a:lnTo>
                  <a:pt x="13356" y="0"/>
                </a:lnTo>
                <a:cubicBezTo>
                  <a:pt x="45045" y="0"/>
                  <a:pt x="70734" y="25689"/>
                  <a:pt x="70734" y="57378"/>
                </a:cubicBezTo>
                <a:lnTo>
                  <a:pt x="70734" y="286884"/>
                </a:lnTo>
                <a:cubicBezTo>
                  <a:pt x="70734" y="318573"/>
                  <a:pt x="45045" y="344262"/>
                  <a:pt x="13356" y="344262"/>
                </a:cubicBezTo>
                <a:lnTo>
                  <a:pt x="0" y="344262"/>
                </a:lnTo>
              </a:path>
            </a:pathLst>
          </a:cu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74849930-4011-2E4D-B370-37F0F5CD9DF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8" name="Текст 5">
            <a:extLst>
              <a:ext uri="{FF2B5EF4-FFF2-40B4-BE49-F238E27FC236}">
                <a16:creationId xmlns:a16="http://schemas.microsoft.com/office/drawing/2014/main" id="{CD0E9984-F526-164F-82E1-D652506C94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83232" y="394709"/>
            <a:ext cx="344262" cy="344262"/>
          </a:xfrm>
          <a:noFill/>
        </p:spPr>
        <p:txBody>
          <a:bodyPr lIns="0" tIns="0" rIns="0" bIns="0" anchor="ctr">
            <a:noAutofit/>
          </a:bodyPr>
          <a:lstStyle>
            <a:lvl1pPr marL="0" indent="0" algn="ctr">
              <a:buFontTx/>
              <a:buNone/>
              <a:defRPr sz="12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D18BC89-BBDC-4215-A269-A3D08BC32F6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5429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91C3D4F6-7726-1441-A09D-CEAB99ACC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30041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6">
            <a:extLst>
              <a:ext uri="{FF2B5EF4-FFF2-40B4-BE49-F238E27FC236}">
                <a16:creationId xmlns:a16="http://schemas.microsoft.com/office/drawing/2014/main" id="{070C9E5A-B517-1449-BB8A-5068C78113C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0476" y="6439895"/>
            <a:ext cx="792693" cy="193716"/>
          </a:xfrm>
        </p:spPr>
        <p:txBody>
          <a:bodyPr lIns="0" tIns="0" rIns="0" bIns="0" anchor="ctr">
            <a:no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9144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13716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182880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ru-RU" dirty="0"/>
              <a:t>Дата</a:t>
            </a:r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B0B57636-21D7-FC48-AE04-4F9EC2E1C1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2700671"/>
            <a:ext cx="4693672" cy="553998"/>
          </a:xfrm>
        </p:spPr>
        <p:txBody>
          <a:bodyPr lIns="0" tIns="0" rIns="0" bIns="0" anchor="t">
            <a:spAutoFit/>
          </a:bodyPr>
          <a:lstStyle>
            <a:lvl1pPr>
              <a:lnSpc>
                <a:spcPct val="100000"/>
              </a:lnSpc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18" name="Текст 18">
            <a:extLst>
              <a:ext uri="{FF2B5EF4-FFF2-40B4-BE49-F238E27FC236}">
                <a16:creationId xmlns:a16="http://schemas.microsoft.com/office/drawing/2014/main" id="{69633C30-2C18-D74E-859C-06DC04AECB4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8516" y="5514975"/>
            <a:ext cx="4693672" cy="249299"/>
          </a:xfrm>
        </p:spPr>
        <p:txBody>
          <a:bodyPr lIns="0" tIns="0" rIns="0" bIns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Подпись к заголовку</a:t>
            </a:r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D2AA8BFC-6053-F241-9144-4D5F0CA282A8}"/>
              </a:ext>
            </a:extLst>
          </p:cNvPr>
          <p:cNvGrpSpPr/>
          <p:nvPr userDrawn="1"/>
        </p:nvGrpSpPr>
        <p:grpSpPr>
          <a:xfrm>
            <a:off x="257894" y="2777803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6DE484C-1179-8F45-8A17-BAF641E84BC7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3E543E61-6DEB-8547-8AE8-08338B8B9218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013B0E8-A6E0-644A-8A2B-0E51B9CA064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19004" y="506789"/>
            <a:ext cx="1772883" cy="709153"/>
          </a:xfrm>
          <a:prstGeom prst="rect">
            <a:avLst/>
          </a:prstGeom>
        </p:spPr>
      </p:pic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52B23AF0-2BC4-4A4D-B112-24AF4341256D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22" name="Нашивка 21">
              <a:extLst>
                <a:ext uri="{FF2B5EF4-FFF2-40B4-BE49-F238E27FC236}">
                  <a16:creationId xmlns:a16="http://schemas.microsoft.com/office/drawing/2014/main" id="{23D1430A-213A-A944-9098-6D27BE14550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3" name="Нашивка 22">
              <a:extLst>
                <a:ext uri="{FF2B5EF4-FFF2-40B4-BE49-F238E27FC236}">
                  <a16:creationId xmlns:a16="http://schemas.microsoft.com/office/drawing/2014/main" id="{55809EBE-656D-FC4F-9EF2-732469A0351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1076165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градиент и фото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AD6CF53-7820-784C-A38B-3C5230C8D6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33691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Текст 4">
            <a:extLst>
              <a:ext uri="{FF2B5EF4-FFF2-40B4-BE49-F238E27FC236}">
                <a16:creationId xmlns:a16="http://schemas.microsoft.com/office/drawing/2014/main" id="{30AFE71A-5FB6-5C40-9034-14FD8517D1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4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2744"/>
            <a:ext cx="7249436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24376" y="3431775"/>
                </a:lnTo>
                <a:lnTo>
                  <a:pt x="0" y="21745"/>
                </a:ln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49040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254362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AA212E81-91BF-2B42-BF5F-9AC90E6B8894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3BF1738A-8A92-1244-AA31-5698F47C8405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2" name="Нашивка 31">
              <a:extLst>
                <a:ext uri="{FF2B5EF4-FFF2-40B4-BE49-F238E27FC236}">
                  <a16:creationId xmlns:a16="http://schemas.microsoft.com/office/drawing/2014/main" id="{0B0B06F9-17C3-CE4C-91B9-5DD6284CA4EE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BE2C2E8-BBD4-4E47-946E-23E9A3C90D7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41604F5-8083-F24B-900A-987678A018EA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AE086509-BF3F-2C42-9698-208D65AE9846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500B931A-C255-0D46-8E5C-6A313DB87652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794923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стрелка и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C9CA3A5-9C66-B444-A2F9-618BFE8D5F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01180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CB56F393-73DB-624A-8FB0-1CD2F3D77C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733258"/>
            <a:ext cx="5119944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13" name="Заголовок 16">
            <a:extLst>
              <a:ext uri="{FF2B5EF4-FFF2-40B4-BE49-F238E27FC236}">
                <a16:creationId xmlns:a16="http://schemas.microsoft.com/office/drawing/2014/main" id="{F18042FC-56AC-C44F-95AD-7D5E0BB4B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751982"/>
            <a:ext cx="3896360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4" name="Текст 18">
            <a:extLst>
              <a:ext uri="{FF2B5EF4-FFF2-40B4-BE49-F238E27FC236}">
                <a16:creationId xmlns:a16="http://schemas.microsoft.com/office/drawing/2014/main" id="{76499D1E-1954-064E-AFEC-7A917D085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3104" y="5227309"/>
            <a:ext cx="391372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590FFB3-8D48-E242-8FE6-15E6CC4F4BAC}"/>
              </a:ext>
            </a:extLst>
          </p:cNvPr>
          <p:cNvGrpSpPr/>
          <p:nvPr userDrawn="1"/>
        </p:nvGrpSpPr>
        <p:grpSpPr>
          <a:xfrm>
            <a:off x="227165" y="3794283"/>
            <a:ext cx="361110" cy="371578"/>
            <a:chOff x="383279" y="3833472"/>
            <a:chExt cx="361110" cy="371578"/>
          </a:xfrm>
        </p:grpSpPr>
        <p:sp>
          <p:nvSpPr>
            <p:cNvPr id="25" name="Нашивка 24">
              <a:extLst>
                <a:ext uri="{FF2B5EF4-FFF2-40B4-BE49-F238E27FC236}">
                  <a16:creationId xmlns:a16="http://schemas.microsoft.com/office/drawing/2014/main" id="{A8CE21C9-4736-6E47-B2D3-82A9023A57B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6" name="Нашивка 25">
              <a:extLst>
                <a:ext uri="{FF2B5EF4-FFF2-40B4-BE49-F238E27FC236}">
                  <a16:creationId xmlns:a16="http://schemas.microsoft.com/office/drawing/2014/main" id="{07203397-8F21-4B4F-AC1C-F867ADC109D7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5" name="Рисунок 21">
            <a:extLst>
              <a:ext uri="{FF2B5EF4-FFF2-40B4-BE49-F238E27FC236}">
                <a16:creationId xmlns:a16="http://schemas.microsoft.com/office/drawing/2014/main" id="{DF856EB9-ACD9-C44F-A99C-A26731BDB0E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32164" y="-15253"/>
            <a:ext cx="7259836" cy="6873254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0 w 7317201"/>
              <a:gd name="connsiteY6" fmla="*/ 22866 h 6844239"/>
              <a:gd name="connsiteX7" fmla="*/ 0 w 7317201"/>
              <a:gd name="connsiteY7" fmla="*/ 0 h 6844239"/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0 w 7317201"/>
              <a:gd name="connsiteY7" fmla="*/ 0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65314 w 7317201"/>
              <a:gd name="connsiteY0" fmla="*/ 11842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108048 w 7317201"/>
              <a:gd name="connsiteY4" fmla="*/ 6842708 h 6844239"/>
              <a:gd name="connsiteX5" fmla="*/ 1005443 w 7317201"/>
              <a:gd name="connsiteY5" fmla="*/ 3424239 h 6844239"/>
              <a:gd name="connsiteX6" fmla="*/ 65315 w 7317201"/>
              <a:gd name="connsiteY6" fmla="*/ 16945 h 6844239"/>
              <a:gd name="connsiteX7" fmla="*/ 65314 w 7317201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40129 w 7251887"/>
              <a:gd name="connsiteY5" fmla="*/ 3424239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0 w 7251887"/>
              <a:gd name="connsiteY0" fmla="*/ 11842 h 6844239"/>
              <a:gd name="connsiteX1" fmla="*/ 7251887 w 7251887"/>
              <a:gd name="connsiteY1" fmla="*/ 0 h 6844239"/>
              <a:gd name="connsiteX2" fmla="*/ 7251887 w 7251887"/>
              <a:gd name="connsiteY2" fmla="*/ 6844239 h 6844239"/>
              <a:gd name="connsiteX3" fmla="*/ 48421 w 7251887"/>
              <a:gd name="connsiteY3" fmla="*/ 6844239 h 6844239"/>
              <a:gd name="connsiteX4" fmla="*/ 42734 w 7251887"/>
              <a:gd name="connsiteY4" fmla="*/ 6842708 h 6844239"/>
              <a:gd name="connsiteX5" fmla="*/ 962688 w 7251887"/>
              <a:gd name="connsiteY5" fmla="*/ 3431775 h 6844239"/>
              <a:gd name="connsiteX6" fmla="*/ 1 w 7251887"/>
              <a:gd name="connsiteY6" fmla="*/ 16945 h 6844239"/>
              <a:gd name="connsiteX7" fmla="*/ 0 w 7251887"/>
              <a:gd name="connsiteY7" fmla="*/ 11842 h 6844239"/>
              <a:gd name="connsiteX0" fmla="*/ 47888 w 7251886"/>
              <a:gd name="connsiteY0" fmla="*/ 11842 h 6844239"/>
              <a:gd name="connsiteX1" fmla="*/ 7251886 w 7251886"/>
              <a:gd name="connsiteY1" fmla="*/ 0 h 6844239"/>
              <a:gd name="connsiteX2" fmla="*/ 7251886 w 7251886"/>
              <a:gd name="connsiteY2" fmla="*/ 6844239 h 6844239"/>
              <a:gd name="connsiteX3" fmla="*/ 48420 w 7251886"/>
              <a:gd name="connsiteY3" fmla="*/ 6844239 h 6844239"/>
              <a:gd name="connsiteX4" fmla="*/ 42733 w 7251886"/>
              <a:gd name="connsiteY4" fmla="*/ 6842708 h 6844239"/>
              <a:gd name="connsiteX5" fmla="*/ 962687 w 7251886"/>
              <a:gd name="connsiteY5" fmla="*/ 3431775 h 6844239"/>
              <a:gd name="connsiteX6" fmla="*/ 0 w 7251886"/>
              <a:gd name="connsiteY6" fmla="*/ 16945 h 6844239"/>
              <a:gd name="connsiteX7" fmla="*/ 47888 w 7251886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4376 w 7213575"/>
              <a:gd name="connsiteY5" fmla="*/ 3431775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20278 w 7213575"/>
              <a:gd name="connsiteY5" fmla="*/ 3423560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  <a:gd name="connsiteX0" fmla="*/ 9577 w 7213575"/>
              <a:gd name="connsiteY0" fmla="*/ 11842 h 6844239"/>
              <a:gd name="connsiteX1" fmla="*/ 7213575 w 7213575"/>
              <a:gd name="connsiteY1" fmla="*/ 0 h 6844239"/>
              <a:gd name="connsiteX2" fmla="*/ 7213575 w 7213575"/>
              <a:gd name="connsiteY2" fmla="*/ 6844239 h 6844239"/>
              <a:gd name="connsiteX3" fmla="*/ 10109 w 7213575"/>
              <a:gd name="connsiteY3" fmla="*/ 6844239 h 6844239"/>
              <a:gd name="connsiteX4" fmla="*/ 4422 w 7213575"/>
              <a:gd name="connsiteY4" fmla="*/ 6842708 h 6844239"/>
              <a:gd name="connsiteX5" fmla="*/ 915340 w 7213575"/>
              <a:gd name="connsiteY5" fmla="*/ 3433457 h 6844239"/>
              <a:gd name="connsiteX6" fmla="*/ 0 w 7213575"/>
              <a:gd name="connsiteY6" fmla="*/ 21745 h 6844239"/>
              <a:gd name="connsiteX7" fmla="*/ 9577 w 7213575"/>
              <a:gd name="connsiteY7" fmla="*/ 11842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213575" h="6844239">
                <a:moveTo>
                  <a:pt x="9577" y="11842"/>
                </a:moveTo>
                <a:lnTo>
                  <a:pt x="7213575" y="0"/>
                </a:lnTo>
                <a:lnTo>
                  <a:pt x="7213575" y="6844239"/>
                </a:lnTo>
                <a:lnTo>
                  <a:pt x="10109" y="6844239"/>
                </a:lnTo>
                <a:lnTo>
                  <a:pt x="4422" y="6842708"/>
                </a:lnTo>
                <a:lnTo>
                  <a:pt x="915340" y="3433457"/>
                </a:lnTo>
                <a:cubicBezTo>
                  <a:pt x="608581" y="2299519"/>
                  <a:pt x="306759" y="1155683"/>
                  <a:pt x="0" y="21745"/>
                </a:cubicBezTo>
                <a:cubicBezTo>
                  <a:pt x="0" y="20044"/>
                  <a:pt x="9577" y="13543"/>
                  <a:pt x="9577" y="11842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85750" indent="-28575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C80B62D6-2484-3E43-8288-D3E485BA4A96}"/>
              </a:ext>
            </a:extLst>
          </p:cNvPr>
          <p:cNvGrpSpPr/>
          <p:nvPr userDrawn="1"/>
        </p:nvGrpSpPr>
        <p:grpSpPr>
          <a:xfrm>
            <a:off x="4731039" y="0"/>
            <a:ext cx="1127505" cy="6876000"/>
            <a:chOff x="3945699" y="0"/>
            <a:chExt cx="1127505" cy="6876000"/>
          </a:xfrm>
        </p:grpSpPr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52DE0869-8416-BA4A-9164-5F32391EA311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845C46B-DEC4-EA46-950F-0DEE2B3A1E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4191451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розрачный градиент и фото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10FA3018-09DA-9046-A283-A7441366171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939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Рисунок 3">
            <a:extLst>
              <a:ext uri="{FF2B5EF4-FFF2-40B4-BE49-F238E27FC236}">
                <a16:creationId xmlns:a16="http://schemas.microsoft.com/office/drawing/2014/main" id="{EAA59F38-4A00-D249-99FC-DF9B2A384A0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7" name="Текст 4">
            <a:extLst>
              <a:ext uri="{FF2B5EF4-FFF2-40B4-BE49-F238E27FC236}">
                <a16:creationId xmlns:a16="http://schemas.microsoft.com/office/drawing/2014/main" id="{5F6BAC7D-516D-B24C-B12C-D28B883AC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bg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AA45FD41-ED9B-2F49-A696-74BD5A4C46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5" y="3832125"/>
            <a:ext cx="5277484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2A829139-1830-7D4D-A0FF-A50153AC606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305802"/>
            <a:ext cx="5301007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8733519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: плашка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9864EF1-02FA-C447-B4C4-82B6933161A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5075461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3">
            <a:extLst>
              <a:ext uri="{FF2B5EF4-FFF2-40B4-BE49-F238E27FC236}">
                <a16:creationId xmlns:a16="http://schemas.microsoft.com/office/drawing/2014/main" id="{50A76EE4-D682-BF43-8DAE-526CC49CB11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D6E650C-492A-BD4F-B0A8-5E5FC435AE6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648769" y="486744"/>
            <a:ext cx="1772883" cy="709153"/>
          </a:xfrm>
          <a:prstGeom prst="rect">
            <a:avLst/>
          </a:prstGeom>
        </p:spPr>
      </p:pic>
      <p:sp>
        <p:nvSpPr>
          <p:cNvPr id="8" name="Текст 18">
            <a:extLst>
              <a:ext uri="{FF2B5EF4-FFF2-40B4-BE49-F238E27FC236}">
                <a16:creationId xmlns:a16="http://schemas.microsoft.com/office/drawing/2014/main" id="{E2322C29-2DF1-A041-80A9-F990F758FB9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18515" y="5456298"/>
            <a:ext cx="530100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9" name="Заголовок 16">
            <a:extLst>
              <a:ext uri="{FF2B5EF4-FFF2-40B4-BE49-F238E27FC236}">
                <a16:creationId xmlns:a16="http://schemas.microsoft.com/office/drawing/2014/main" id="{19D1D188-B0FF-6144-9237-0FD677A02B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4172597"/>
            <a:ext cx="527748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10" name="Текст 4">
            <a:extLst>
              <a:ext uri="{FF2B5EF4-FFF2-40B4-BE49-F238E27FC236}">
                <a16:creationId xmlns:a16="http://schemas.microsoft.com/office/drawing/2014/main" id="{7E6D6720-D0DE-4445-A813-BBF8CA0129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4096" y="3028789"/>
            <a:ext cx="4063878" cy="1218795"/>
          </a:xfrm>
        </p:spPr>
        <p:txBody>
          <a:bodyPr lIns="0" tIns="0" rIns="0" bIns="0">
            <a:spAutoFit/>
          </a:bodyPr>
          <a:lstStyle>
            <a:lvl1pPr marL="0" indent="0">
              <a:buFontTx/>
              <a:buNone/>
              <a:defRPr sz="8800" b="1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</p:spTree>
    <p:extLst>
      <p:ext uri="{BB962C8B-B14F-4D97-AF65-F5344CB8AC3E}">
        <p14:creationId xmlns:p14="http://schemas.microsoft.com/office/powerpoint/2010/main" val="19365980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градиент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257359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sp>
        <p:nvSpPr>
          <p:cNvPr id="9" name="Текст 4">
            <a:extLst>
              <a:ext uri="{FF2B5EF4-FFF2-40B4-BE49-F238E27FC236}">
                <a16:creationId xmlns:a16="http://schemas.microsoft.com/office/drawing/2014/main" id="{0E13A231-B046-1F4B-A36E-3CC5FB7710B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DFB5AB00-E3EA-B64E-858C-946031C610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61321"/>
            <a:ext cx="10554971" cy="997196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endParaRPr lang="ru-RU" dirty="0"/>
          </a:p>
        </p:txBody>
      </p:sp>
      <p:sp>
        <p:nvSpPr>
          <p:cNvPr id="15" name="Текст 18">
            <a:extLst>
              <a:ext uri="{FF2B5EF4-FFF2-40B4-BE49-F238E27FC236}">
                <a16:creationId xmlns:a16="http://schemas.microsoft.com/office/drawing/2014/main" id="{9F64DCFC-FC3B-7440-97A3-1C74EC8FBA1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5" y="5461594"/>
            <a:ext cx="10602018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08AF1FF8-951E-9B4D-96E8-F9535A1B1717}"/>
              </a:ext>
            </a:extLst>
          </p:cNvPr>
          <p:cNvGrpSpPr/>
          <p:nvPr userDrawn="1"/>
        </p:nvGrpSpPr>
        <p:grpSpPr>
          <a:xfrm>
            <a:off x="227165" y="4395174"/>
            <a:ext cx="361110" cy="371578"/>
            <a:chOff x="383279" y="3833472"/>
            <a:chExt cx="361110" cy="371578"/>
          </a:xfrm>
        </p:grpSpPr>
        <p:sp>
          <p:nvSpPr>
            <p:cNvPr id="19" name="Нашивка 18">
              <a:extLst>
                <a:ext uri="{FF2B5EF4-FFF2-40B4-BE49-F238E27FC236}">
                  <a16:creationId xmlns:a16="http://schemas.microsoft.com/office/drawing/2014/main" id="{DC372A10-83C5-DC45-8F47-01EF8DA40D2B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7F5F3CBD-40CD-B34C-92C5-D4244B2DBEC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66866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лог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7EE458F2-981F-5B4D-AD84-FF20F4593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572881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3D17A70-2D70-8D49-944B-DCA00AE7B88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3622" b="-3566"/>
          <a:stretch/>
        </p:blipFill>
        <p:spPr>
          <a:xfrm>
            <a:off x="7720162" y="2598039"/>
            <a:ext cx="4063046" cy="38576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6500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: белый фо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32936E7-298E-344F-86EF-0BEB754737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434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Текст 4">
            <a:extLst>
              <a:ext uri="{FF2B5EF4-FFF2-40B4-BE49-F238E27FC236}">
                <a16:creationId xmlns:a16="http://schemas.microsoft.com/office/drawing/2014/main" id="{5B92850A-0211-1144-8EB9-6091374CCDE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2270" y="1077938"/>
            <a:ext cx="5119944" cy="3877985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lang="ru-RU" sz="28000" b="1" kern="1200" dirty="0">
                <a:gradFill flip="none" rotWithShape="1">
                  <a:gsLst>
                    <a:gs pos="0">
                      <a:schemeClr val="accent1"/>
                    </a:gs>
                    <a:gs pos="76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</a:pPr>
            <a:r>
              <a:rPr lang="ru-RU" dirty="0"/>
              <a:t>№</a:t>
            </a:r>
          </a:p>
        </p:txBody>
      </p:sp>
      <p:sp>
        <p:nvSpPr>
          <p:cNvPr id="7" name="Заголовок 16">
            <a:extLst>
              <a:ext uri="{FF2B5EF4-FFF2-40B4-BE49-F238E27FC236}">
                <a16:creationId xmlns:a16="http://schemas.microsoft.com/office/drawing/2014/main" id="{BE6F29DE-28D2-394F-821C-FB76FDE14A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8514" y="3664249"/>
            <a:ext cx="6062345" cy="498598"/>
          </a:xfrm>
        </p:spPr>
        <p:txBody>
          <a:bodyPr vert="horz" lIns="0" tIns="0" rIns="0" bIns="0" anchor="t">
            <a:spAutoFit/>
          </a:bodyPr>
          <a:lstStyle>
            <a:lvl1pPr>
              <a:defRPr sz="36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8" name="Текст 18">
            <a:extLst>
              <a:ext uri="{FF2B5EF4-FFF2-40B4-BE49-F238E27FC236}">
                <a16:creationId xmlns:a16="http://schemas.microsoft.com/office/drawing/2014/main" id="{B447CD9E-79AA-F841-B913-4DF677CF25D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18514" y="4926106"/>
            <a:ext cx="6062345" cy="249299"/>
          </a:xfrm>
        </p:spPr>
        <p:txBody>
          <a:bodyPr lIns="0" tIns="0" rIns="0" bIns="0" anchor="t">
            <a:spAutoFit/>
          </a:bodyPr>
          <a:lstStyle>
            <a:lvl1pPr marL="0" indent="0">
              <a:buFontTx/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800"/>
            </a:lvl2pPr>
            <a:lvl3pPr marL="914400" indent="0">
              <a:buFontTx/>
              <a:buNone/>
              <a:defRPr sz="1800"/>
            </a:lvl3pPr>
            <a:lvl4pPr marL="1371600" indent="0">
              <a:buFontTx/>
              <a:buNone/>
              <a:defRPr sz="1800"/>
            </a:lvl4pPr>
            <a:lvl5pPr marL="1828800" indent="0">
              <a:buFontTx/>
              <a:buNone/>
              <a:defRPr sz="1800"/>
            </a:lvl5pPr>
          </a:lstStyle>
          <a:p>
            <a:pPr lvl="0"/>
            <a:r>
              <a:rPr lang="ru-RU" dirty="0"/>
              <a:t>Образец текста</a:t>
            </a:r>
          </a:p>
        </p:txBody>
      </p: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F77A769-4F6D-8F4E-8FA7-F0C592D67851}"/>
              </a:ext>
            </a:extLst>
          </p:cNvPr>
          <p:cNvGrpSpPr/>
          <p:nvPr userDrawn="1"/>
        </p:nvGrpSpPr>
        <p:grpSpPr>
          <a:xfrm>
            <a:off x="227165" y="3714180"/>
            <a:ext cx="361110" cy="371578"/>
            <a:chOff x="383279" y="3833472"/>
            <a:chExt cx="361110" cy="371578"/>
          </a:xfrm>
        </p:grpSpPr>
        <p:sp>
          <p:nvSpPr>
            <p:cNvPr id="30" name="Нашивка 29">
              <a:extLst>
                <a:ext uri="{FF2B5EF4-FFF2-40B4-BE49-F238E27FC236}">
                  <a16:creationId xmlns:a16="http://schemas.microsoft.com/office/drawing/2014/main" id="{55DD70D4-EC10-404E-A2F0-BDD074B844BE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31" name="Нашивка 30">
              <a:extLst>
                <a:ext uri="{FF2B5EF4-FFF2-40B4-BE49-F238E27FC236}">
                  <a16:creationId xmlns:a16="http://schemas.microsoft.com/office/drawing/2014/main" id="{C7099F1E-2038-F640-A9BD-C832B7361CCB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0" name="Группа 9">
            <a:extLst>
              <a:ext uri="{FF2B5EF4-FFF2-40B4-BE49-F238E27FC236}">
                <a16:creationId xmlns:a16="http://schemas.microsoft.com/office/drawing/2014/main" id="{6B36374A-92E4-084C-AA09-6CFE35648EF5}"/>
              </a:ext>
            </a:extLst>
          </p:cNvPr>
          <p:cNvGrpSpPr/>
          <p:nvPr userDrawn="1"/>
        </p:nvGrpSpPr>
        <p:grpSpPr>
          <a:xfrm>
            <a:off x="7700393" y="0"/>
            <a:ext cx="1127505" cy="6876000"/>
            <a:chOff x="3945699" y="0"/>
            <a:chExt cx="1127505" cy="6876000"/>
          </a:xfrm>
        </p:grpSpPr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269A1E4D-FBE3-D747-9ADC-5846C284409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2" name="Нашивка 11">
              <a:extLst>
                <a:ext uri="{FF2B5EF4-FFF2-40B4-BE49-F238E27FC236}">
                  <a16:creationId xmlns:a16="http://schemas.microsoft.com/office/drawing/2014/main" id="{E3F5A0E7-C5AF-7747-BCCB-9AAB760EA313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1529484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F85B60A3-FE48-2E49-B5BC-9634550B63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352706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07D7406-D609-3844-9FFD-74697F85981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>
            <a:extLst>
              <a:ext uri="{FF2B5EF4-FFF2-40B4-BE49-F238E27FC236}">
                <a16:creationId xmlns:a16="http://schemas.microsoft.com/office/drawing/2014/main" id="{04C3F334-6B2E-0F46-9A34-5391205468A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8024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496EC26-6A0F-704E-807F-0ADDC92ED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422750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00878" y="402822"/>
            <a:ext cx="4763368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4602163" y="1208544"/>
            <a:ext cx="1541261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Рисунок 4">
            <a:extLst>
              <a:ext uri="{FF2B5EF4-FFF2-40B4-BE49-F238E27FC236}">
                <a16:creationId xmlns:a16="http://schemas.microsoft.com/office/drawing/2014/main" id="{E53D1804-0EFE-AB4F-B2DB-B9BB9A802422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4602163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 marL="228600" indent="-228600" algn="ctr">
              <a:buFontTx/>
              <a:buNone/>
              <a:defRPr lang="ru-RU" sz="18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en-US" dirty="0"/>
              <a:t> </a:t>
            </a: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57638FCE-C738-8243-9156-EC65C3E1F0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CF3B33A8-9A4D-0E45-9A25-1BB082DBFAE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412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2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331CB090-1FE3-384B-9D86-A7F938FB7D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2735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FAE0686-3352-DF49-A0BE-4036C672982F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8" name="Заголовок 16">
            <a:extLst>
              <a:ext uri="{FF2B5EF4-FFF2-40B4-BE49-F238E27FC236}">
                <a16:creationId xmlns:a16="http://schemas.microsoft.com/office/drawing/2014/main" id="{4DAFD9ED-F51F-7946-A209-364F853CB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251DC40-B978-F64A-9CDE-4F61D94F85D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9FF4D68-3FF9-5B44-B685-123DD897E6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6EEBFA74-84E0-7045-B360-ADA292591A7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B1F8A37-9FB8-0B48-B9A8-FFF00F4567C8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95919181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8A6AF37E-99FD-FC46-BDAD-F5FBCA00C5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61892516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FD9F2DAB-4652-2C46-B2B9-DA033A180894}"/>
              </a:ext>
            </a:extLst>
          </p:cNvPr>
          <p:cNvSpPr/>
          <p:nvPr userDrawn="1"/>
        </p:nvSpPr>
        <p:spPr>
          <a:xfrm>
            <a:off x="814782" y="1352890"/>
            <a:ext cx="5474806" cy="4860000"/>
          </a:xfrm>
          <a:custGeom>
            <a:avLst/>
            <a:gdLst>
              <a:gd name="connsiteX0" fmla="*/ 2827536 w 5474806"/>
              <a:gd name="connsiteY0" fmla="*/ 0 h 4867096"/>
              <a:gd name="connsiteX1" fmla="*/ 4627044 w 5474806"/>
              <a:gd name="connsiteY1" fmla="*/ 0 h 4867096"/>
              <a:gd name="connsiteX2" fmla="*/ 5474806 w 5474806"/>
              <a:gd name="connsiteY2" fmla="*/ 2433549 h 4867096"/>
              <a:gd name="connsiteX3" fmla="*/ 4627044 w 5474806"/>
              <a:gd name="connsiteY3" fmla="*/ 4867096 h 4867096"/>
              <a:gd name="connsiteX4" fmla="*/ 4022173 w 5474806"/>
              <a:gd name="connsiteY4" fmla="*/ 4867096 h 4867096"/>
              <a:gd name="connsiteX5" fmla="*/ 2827536 w 5474806"/>
              <a:gd name="connsiteY5" fmla="*/ 4867096 h 4867096"/>
              <a:gd name="connsiteX6" fmla="*/ 654469 w 5474806"/>
              <a:gd name="connsiteY6" fmla="*/ 4867096 h 4867096"/>
              <a:gd name="connsiteX7" fmla="*/ 648540 w 5474806"/>
              <a:gd name="connsiteY7" fmla="*/ 4866307 h 4867096"/>
              <a:gd name="connsiteX8" fmla="*/ 133772 w 5474806"/>
              <a:gd name="connsiteY8" fmla="*/ 4866307 h 4867096"/>
              <a:gd name="connsiteX9" fmla="*/ 0 w 5474806"/>
              <a:gd name="connsiteY9" fmla="*/ 4732535 h 4867096"/>
              <a:gd name="connsiteX10" fmla="*/ 0 w 5474806"/>
              <a:gd name="connsiteY10" fmla="*/ 134562 h 4867096"/>
              <a:gd name="connsiteX11" fmla="*/ 133772 w 5474806"/>
              <a:gd name="connsiteY11" fmla="*/ 790 h 4867096"/>
              <a:gd name="connsiteX12" fmla="*/ 2827536 w 5474806"/>
              <a:gd name="connsiteY12" fmla="*/ 790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474806" h="4867096">
                <a:moveTo>
                  <a:pt x="2827536" y="0"/>
                </a:moveTo>
                <a:lnTo>
                  <a:pt x="4627044" y="0"/>
                </a:lnTo>
                <a:lnTo>
                  <a:pt x="5474806" y="2433549"/>
                </a:lnTo>
                <a:lnTo>
                  <a:pt x="4627044" y="4867096"/>
                </a:lnTo>
                <a:lnTo>
                  <a:pt x="4022173" y="4867096"/>
                </a:lnTo>
                <a:lnTo>
                  <a:pt x="2827536" y="4867096"/>
                </a:lnTo>
                <a:lnTo>
                  <a:pt x="654469" y="4867096"/>
                </a:lnTo>
                <a:lnTo>
                  <a:pt x="648540" y="4866307"/>
                </a:lnTo>
                <a:lnTo>
                  <a:pt x="133772" y="4866307"/>
                </a:lnTo>
                <a:cubicBezTo>
                  <a:pt x="59892" y="4866307"/>
                  <a:pt x="0" y="4806415"/>
                  <a:pt x="0" y="4732535"/>
                </a:cubicBezTo>
                <a:lnTo>
                  <a:pt x="0" y="134562"/>
                </a:lnTo>
                <a:cubicBezTo>
                  <a:pt x="0" y="60682"/>
                  <a:pt x="59892" y="790"/>
                  <a:pt x="133772" y="790"/>
                </a:cubicBezTo>
                <a:lnTo>
                  <a:pt x="2827536" y="790"/>
                </a:lnTo>
                <a:close/>
              </a:path>
            </a:pathLst>
          </a:custGeom>
          <a:solidFill>
            <a:srgbClr val="F7F7F7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ECCE6E81-B6E0-B246-8EAB-96ED5E33953B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F8CBEEC2-B7F4-3944-8945-A2A1A2919CE6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8" name="Нашивка 17">
              <a:extLst>
                <a:ext uri="{FF2B5EF4-FFF2-40B4-BE49-F238E27FC236}">
                  <a16:creationId xmlns:a16="http://schemas.microsoft.com/office/drawing/2014/main" id="{118A6904-EFD3-6D42-9C54-7AD235004CD4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C8B122AB-132B-6A45-8685-822F9C52319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597611" y="1344613"/>
            <a:ext cx="5786353" cy="4862512"/>
          </a:xfrm>
          <a:custGeom>
            <a:avLst/>
            <a:gdLst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62851 w 5786353"/>
              <a:gd name="connsiteY11" fmla="*/ 2433848 h 4862512"/>
              <a:gd name="connsiteX12" fmla="*/ 0 w 5786353"/>
              <a:gd name="connsiteY12" fmla="*/ 15002 h 4862512"/>
              <a:gd name="connsiteX0" fmla="*/ 0 w 5786353"/>
              <a:gd name="connsiteY0" fmla="*/ 0 h 4862512"/>
              <a:gd name="connsiteX1" fmla="*/ 5622301 w 5786353"/>
              <a:gd name="connsiteY1" fmla="*/ 0 h 4862512"/>
              <a:gd name="connsiteX2" fmla="*/ 5686749 w 5786353"/>
              <a:gd name="connsiteY2" fmla="*/ 13011 h 4862512"/>
              <a:gd name="connsiteX3" fmla="*/ 5777685 w 5786353"/>
              <a:gd name="connsiteY3" fmla="*/ 103947 h 4862512"/>
              <a:gd name="connsiteX4" fmla="*/ 5786353 w 5786353"/>
              <a:gd name="connsiteY4" fmla="*/ 146883 h 4862512"/>
              <a:gd name="connsiteX5" fmla="*/ 5786353 w 5786353"/>
              <a:gd name="connsiteY5" fmla="*/ 4717800 h 4862512"/>
              <a:gd name="connsiteX6" fmla="*/ 5777685 w 5786353"/>
              <a:gd name="connsiteY6" fmla="*/ 4760736 h 4862512"/>
              <a:gd name="connsiteX7" fmla="*/ 5686749 w 5786353"/>
              <a:gd name="connsiteY7" fmla="*/ 4851672 h 4862512"/>
              <a:gd name="connsiteX8" fmla="*/ 5633055 w 5786353"/>
              <a:gd name="connsiteY8" fmla="*/ 4862512 h 4862512"/>
              <a:gd name="connsiteX9" fmla="*/ 0 w 5786353"/>
              <a:gd name="connsiteY9" fmla="*/ 4862512 h 4862512"/>
              <a:gd name="connsiteX10" fmla="*/ 0 w 5786353"/>
              <a:gd name="connsiteY10" fmla="*/ 4852694 h 4862512"/>
              <a:gd name="connsiteX11" fmla="*/ 952803 w 5786353"/>
              <a:gd name="connsiteY11" fmla="*/ 2423800 h 4862512"/>
              <a:gd name="connsiteX12" fmla="*/ 0 w 5786353"/>
              <a:gd name="connsiteY12" fmla="*/ 15002 h 4862512"/>
              <a:gd name="connsiteX13" fmla="*/ 0 w 5786353"/>
              <a:gd name="connsiteY13" fmla="*/ 0 h 4862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786353" h="4862512">
                <a:moveTo>
                  <a:pt x="0" y="0"/>
                </a:moveTo>
                <a:lnTo>
                  <a:pt x="5622301" y="0"/>
                </a:lnTo>
                <a:lnTo>
                  <a:pt x="5686749" y="13011"/>
                </a:lnTo>
                <a:cubicBezTo>
                  <a:pt x="5727636" y="30305"/>
                  <a:pt x="5760391" y="63060"/>
                  <a:pt x="5777685" y="103947"/>
                </a:cubicBezTo>
                <a:lnTo>
                  <a:pt x="5786353" y="146883"/>
                </a:lnTo>
                <a:lnTo>
                  <a:pt x="5786353" y="4717800"/>
                </a:lnTo>
                <a:lnTo>
                  <a:pt x="5777685" y="4760736"/>
                </a:lnTo>
                <a:cubicBezTo>
                  <a:pt x="5760391" y="4801623"/>
                  <a:pt x="5727636" y="4834378"/>
                  <a:pt x="5686749" y="4851672"/>
                </a:cubicBezTo>
                <a:lnTo>
                  <a:pt x="5633055" y="4862512"/>
                </a:lnTo>
                <a:lnTo>
                  <a:pt x="0" y="4862512"/>
                </a:lnTo>
                <a:lnTo>
                  <a:pt x="0" y="4852694"/>
                </a:lnTo>
                <a:lnTo>
                  <a:pt x="952803" y="2423800"/>
                </a:lnTo>
                <a:lnTo>
                  <a:pt x="0" y="15002"/>
                </a:lnTo>
                <a:lnTo>
                  <a:pt x="0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8CAF1BEF-86D9-9C49-A79A-90437F062BA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7" name="Прямая соединительная линия 26">
            <a:extLst>
              <a:ext uri="{FF2B5EF4-FFF2-40B4-BE49-F238E27FC236}">
                <a16:creationId xmlns:a16="http://schemas.microsoft.com/office/drawing/2014/main" id="{2D71F13D-3902-F649-A58F-7B229C39274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3732F6BC-86EB-DC47-8955-70DA404806C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329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то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D68EE43A-8859-594C-A127-7DE1B66556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9114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олилиния 14">
            <a:extLst>
              <a:ext uri="{FF2B5EF4-FFF2-40B4-BE49-F238E27FC236}">
                <a16:creationId xmlns:a16="http://schemas.microsoft.com/office/drawing/2014/main" id="{258183B6-84F7-7942-A1E1-D2A8B442AC54}"/>
              </a:ext>
            </a:extLst>
          </p:cNvPr>
          <p:cNvSpPr/>
          <p:nvPr userDrawn="1"/>
        </p:nvSpPr>
        <p:spPr>
          <a:xfrm flipH="1">
            <a:off x="5584053" y="1348813"/>
            <a:ext cx="5804672" cy="4867096"/>
          </a:xfrm>
          <a:custGeom>
            <a:avLst/>
            <a:gdLst>
              <a:gd name="connsiteX0" fmla="*/ 5804672 w 5804672"/>
              <a:gd name="connsiteY0" fmla="*/ 0 h 4867096"/>
              <a:gd name="connsiteX1" fmla="*/ 3575355 w 5804672"/>
              <a:gd name="connsiteY1" fmla="*/ 0 h 4867096"/>
              <a:gd name="connsiteX2" fmla="*/ 3575355 w 5804672"/>
              <a:gd name="connsiteY2" fmla="*/ 790 h 4867096"/>
              <a:gd name="connsiteX3" fmla="*/ 133772 w 5804672"/>
              <a:gd name="connsiteY3" fmla="*/ 790 h 4867096"/>
              <a:gd name="connsiteX4" fmla="*/ 0 w 5804672"/>
              <a:gd name="connsiteY4" fmla="*/ 134562 h 4867096"/>
              <a:gd name="connsiteX5" fmla="*/ 0 w 5804672"/>
              <a:gd name="connsiteY5" fmla="*/ 4732535 h 4867096"/>
              <a:gd name="connsiteX6" fmla="*/ 133772 w 5804672"/>
              <a:gd name="connsiteY6" fmla="*/ 4866307 h 4867096"/>
              <a:gd name="connsiteX7" fmla="*/ 875911 w 5804672"/>
              <a:gd name="connsiteY7" fmla="*/ 4866307 h 4867096"/>
              <a:gd name="connsiteX8" fmla="*/ 883255 w 5804672"/>
              <a:gd name="connsiteY8" fmla="*/ 4867096 h 4867096"/>
              <a:gd name="connsiteX9" fmla="*/ 3575355 w 5804672"/>
              <a:gd name="connsiteY9" fmla="*/ 4867096 h 4867096"/>
              <a:gd name="connsiteX10" fmla="*/ 5055330 w 5804672"/>
              <a:gd name="connsiteY10" fmla="*/ 4867096 h 4867096"/>
              <a:gd name="connsiteX11" fmla="*/ 5804672 w 5804672"/>
              <a:gd name="connsiteY11" fmla="*/ 4867096 h 4867096"/>
              <a:gd name="connsiteX12" fmla="*/ 4961536 w 5804672"/>
              <a:gd name="connsiteY12" fmla="*/ 2436468 h 4867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5804672" h="4867096">
                <a:moveTo>
                  <a:pt x="5804672" y="0"/>
                </a:moveTo>
                <a:lnTo>
                  <a:pt x="3575355" y="0"/>
                </a:lnTo>
                <a:lnTo>
                  <a:pt x="3575355" y="790"/>
                </a:lnTo>
                <a:lnTo>
                  <a:pt x="133772" y="790"/>
                </a:lnTo>
                <a:cubicBezTo>
                  <a:pt x="59892" y="790"/>
                  <a:pt x="0" y="60682"/>
                  <a:pt x="0" y="134562"/>
                </a:cubicBezTo>
                <a:lnTo>
                  <a:pt x="0" y="4732535"/>
                </a:lnTo>
                <a:cubicBezTo>
                  <a:pt x="0" y="4806415"/>
                  <a:pt x="59892" y="4866307"/>
                  <a:pt x="133772" y="4866307"/>
                </a:cubicBezTo>
                <a:lnTo>
                  <a:pt x="875911" y="4866307"/>
                </a:lnTo>
                <a:lnTo>
                  <a:pt x="883255" y="4867096"/>
                </a:lnTo>
                <a:lnTo>
                  <a:pt x="3575355" y="4867096"/>
                </a:lnTo>
                <a:lnTo>
                  <a:pt x="5055330" y="4867096"/>
                </a:lnTo>
                <a:lnTo>
                  <a:pt x="5804672" y="4867096"/>
                </a:lnTo>
                <a:lnTo>
                  <a:pt x="4961536" y="243646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Рисунок 17">
            <a:extLst>
              <a:ext uri="{FF2B5EF4-FFF2-40B4-BE49-F238E27FC236}">
                <a16:creationId xmlns:a16="http://schemas.microsoft.com/office/drawing/2014/main" id="{289EDCB9-AE11-5843-8024-4B13C105AA7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08907" y="1345076"/>
            <a:ext cx="5490233" cy="4859337"/>
          </a:xfrm>
          <a:custGeom>
            <a:avLst/>
            <a:gdLst>
              <a:gd name="connsiteX0" fmla="*/ 129274 w 5508802"/>
              <a:gd name="connsiteY0" fmla="*/ 0 h 4859337"/>
              <a:gd name="connsiteX1" fmla="*/ 4540653 w 5508802"/>
              <a:gd name="connsiteY1" fmla="*/ 0 h 4859337"/>
              <a:gd name="connsiteX2" fmla="*/ 5501812 w 5508802"/>
              <a:gd name="connsiteY2" fmla="*/ 2420276 h 4859337"/>
              <a:gd name="connsiteX3" fmla="*/ 5506169 w 5508802"/>
              <a:gd name="connsiteY3" fmla="*/ 2426067 h 4859337"/>
              <a:gd name="connsiteX4" fmla="*/ 4532899 w 5508802"/>
              <a:gd name="connsiteY4" fmla="*/ 4859337 h 4859337"/>
              <a:gd name="connsiteX5" fmla="*/ 4532898 w 5508802"/>
              <a:gd name="connsiteY5" fmla="*/ 4859337 h 4859337"/>
              <a:gd name="connsiteX6" fmla="*/ 129277 w 5508802"/>
              <a:gd name="connsiteY6" fmla="*/ 4859337 h 4859337"/>
              <a:gd name="connsiteX7" fmla="*/ 117576 w 5508802"/>
              <a:gd name="connsiteY7" fmla="*/ 4855705 h 4859337"/>
              <a:gd name="connsiteX8" fmla="*/ 15128 w 5508802"/>
              <a:gd name="connsiteY8" fmla="*/ 4753257 h 4859337"/>
              <a:gd name="connsiteX9" fmla="*/ 0 w 5508802"/>
              <a:gd name="connsiteY9" fmla="*/ 4678328 h 4859337"/>
              <a:gd name="connsiteX10" fmla="*/ 0 w 5508802"/>
              <a:gd name="connsiteY10" fmla="*/ 181008 h 4859337"/>
              <a:gd name="connsiteX11" fmla="*/ 15128 w 5508802"/>
              <a:gd name="connsiteY11" fmla="*/ 106080 h 4859337"/>
              <a:gd name="connsiteX12" fmla="*/ 117576 w 5508802"/>
              <a:gd name="connsiteY12" fmla="*/ 3632 h 4859337"/>
              <a:gd name="connsiteX0" fmla="*/ 129274 w 5504144"/>
              <a:gd name="connsiteY0" fmla="*/ 0 h 4859337"/>
              <a:gd name="connsiteX1" fmla="*/ 4540653 w 5504144"/>
              <a:gd name="connsiteY1" fmla="*/ 0 h 4859337"/>
              <a:gd name="connsiteX2" fmla="*/ 5501812 w 5504144"/>
              <a:gd name="connsiteY2" fmla="*/ 2420276 h 4859337"/>
              <a:gd name="connsiteX3" fmla="*/ 5474759 w 5504144"/>
              <a:gd name="connsiteY3" fmla="*/ 2440028 h 4859337"/>
              <a:gd name="connsiteX4" fmla="*/ 4532899 w 5504144"/>
              <a:gd name="connsiteY4" fmla="*/ 4859337 h 4859337"/>
              <a:gd name="connsiteX5" fmla="*/ 4532898 w 5504144"/>
              <a:gd name="connsiteY5" fmla="*/ 4859337 h 4859337"/>
              <a:gd name="connsiteX6" fmla="*/ 129277 w 5504144"/>
              <a:gd name="connsiteY6" fmla="*/ 4859337 h 4859337"/>
              <a:gd name="connsiteX7" fmla="*/ 117576 w 5504144"/>
              <a:gd name="connsiteY7" fmla="*/ 4855705 h 4859337"/>
              <a:gd name="connsiteX8" fmla="*/ 15128 w 5504144"/>
              <a:gd name="connsiteY8" fmla="*/ 4753257 h 4859337"/>
              <a:gd name="connsiteX9" fmla="*/ 0 w 5504144"/>
              <a:gd name="connsiteY9" fmla="*/ 4678328 h 4859337"/>
              <a:gd name="connsiteX10" fmla="*/ 0 w 5504144"/>
              <a:gd name="connsiteY10" fmla="*/ 181008 h 4859337"/>
              <a:gd name="connsiteX11" fmla="*/ 15128 w 5504144"/>
              <a:gd name="connsiteY11" fmla="*/ 106080 h 4859337"/>
              <a:gd name="connsiteX12" fmla="*/ 117576 w 5504144"/>
              <a:gd name="connsiteY12" fmla="*/ 3632 h 4859337"/>
              <a:gd name="connsiteX13" fmla="*/ 129274 w 5504144"/>
              <a:gd name="connsiteY13" fmla="*/ 0 h 4859337"/>
              <a:gd name="connsiteX0" fmla="*/ 129274 w 5488080"/>
              <a:gd name="connsiteY0" fmla="*/ 0 h 4859337"/>
              <a:gd name="connsiteX1" fmla="*/ 4540653 w 5488080"/>
              <a:gd name="connsiteY1" fmla="*/ 0 h 4859337"/>
              <a:gd name="connsiteX2" fmla="*/ 5484362 w 5488080"/>
              <a:gd name="connsiteY2" fmla="*/ 2430747 h 4859337"/>
              <a:gd name="connsiteX3" fmla="*/ 5474759 w 5488080"/>
              <a:gd name="connsiteY3" fmla="*/ 2440028 h 4859337"/>
              <a:gd name="connsiteX4" fmla="*/ 4532899 w 5488080"/>
              <a:gd name="connsiteY4" fmla="*/ 4859337 h 4859337"/>
              <a:gd name="connsiteX5" fmla="*/ 4532898 w 5488080"/>
              <a:gd name="connsiteY5" fmla="*/ 4859337 h 4859337"/>
              <a:gd name="connsiteX6" fmla="*/ 129277 w 5488080"/>
              <a:gd name="connsiteY6" fmla="*/ 4859337 h 4859337"/>
              <a:gd name="connsiteX7" fmla="*/ 117576 w 5488080"/>
              <a:gd name="connsiteY7" fmla="*/ 4855705 h 4859337"/>
              <a:gd name="connsiteX8" fmla="*/ 15128 w 5488080"/>
              <a:gd name="connsiteY8" fmla="*/ 4753257 h 4859337"/>
              <a:gd name="connsiteX9" fmla="*/ 0 w 5488080"/>
              <a:gd name="connsiteY9" fmla="*/ 4678328 h 4859337"/>
              <a:gd name="connsiteX10" fmla="*/ 0 w 5488080"/>
              <a:gd name="connsiteY10" fmla="*/ 181008 h 4859337"/>
              <a:gd name="connsiteX11" fmla="*/ 15128 w 5488080"/>
              <a:gd name="connsiteY11" fmla="*/ 106080 h 4859337"/>
              <a:gd name="connsiteX12" fmla="*/ 117576 w 5488080"/>
              <a:gd name="connsiteY12" fmla="*/ 3632 h 4859337"/>
              <a:gd name="connsiteX13" fmla="*/ 129274 w 5488080"/>
              <a:gd name="connsiteY13" fmla="*/ 0 h 4859337"/>
              <a:gd name="connsiteX0" fmla="*/ 129274 w 5490233"/>
              <a:gd name="connsiteY0" fmla="*/ 0 h 4859337"/>
              <a:gd name="connsiteX1" fmla="*/ 4540653 w 5490233"/>
              <a:gd name="connsiteY1" fmla="*/ 0 h 4859337"/>
              <a:gd name="connsiteX2" fmla="*/ 5484362 w 5490233"/>
              <a:gd name="connsiteY2" fmla="*/ 2430747 h 4859337"/>
              <a:gd name="connsiteX3" fmla="*/ 5485645 w 5490233"/>
              <a:gd name="connsiteY3" fmla="*/ 2429142 h 4859337"/>
              <a:gd name="connsiteX4" fmla="*/ 4532899 w 5490233"/>
              <a:gd name="connsiteY4" fmla="*/ 4859337 h 4859337"/>
              <a:gd name="connsiteX5" fmla="*/ 4532898 w 5490233"/>
              <a:gd name="connsiteY5" fmla="*/ 4859337 h 4859337"/>
              <a:gd name="connsiteX6" fmla="*/ 129277 w 5490233"/>
              <a:gd name="connsiteY6" fmla="*/ 4859337 h 4859337"/>
              <a:gd name="connsiteX7" fmla="*/ 117576 w 5490233"/>
              <a:gd name="connsiteY7" fmla="*/ 4855705 h 4859337"/>
              <a:gd name="connsiteX8" fmla="*/ 15128 w 5490233"/>
              <a:gd name="connsiteY8" fmla="*/ 4753257 h 4859337"/>
              <a:gd name="connsiteX9" fmla="*/ 0 w 5490233"/>
              <a:gd name="connsiteY9" fmla="*/ 4678328 h 4859337"/>
              <a:gd name="connsiteX10" fmla="*/ 0 w 5490233"/>
              <a:gd name="connsiteY10" fmla="*/ 181008 h 4859337"/>
              <a:gd name="connsiteX11" fmla="*/ 15128 w 5490233"/>
              <a:gd name="connsiteY11" fmla="*/ 106080 h 4859337"/>
              <a:gd name="connsiteX12" fmla="*/ 117576 w 5490233"/>
              <a:gd name="connsiteY12" fmla="*/ 3632 h 4859337"/>
              <a:gd name="connsiteX13" fmla="*/ 129274 w 5490233"/>
              <a:gd name="connsiteY13" fmla="*/ 0 h 48593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490233" h="4859337">
                <a:moveTo>
                  <a:pt x="129274" y="0"/>
                </a:moveTo>
                <a:lnTo>
                  <a:pt x="4540653" y="0"/>
                </a:lnTo>
                <a:lnTo>
                  <a:pt x="5484362" y="2430747"/>
                </a:lnTo>
                <a:cubicBezTo>
                  <a:pt x="5496398" y="2437969"/>
                  <a:pt x="5486310" y="2425095"/>
                  <a:pt x="5485645" y="2429142"/>
                </a:cubicBezTo>
                <a:lnTo>
                  <a:pt x="4532899" y="4859337"/>
                </a:lnTo>
                <a:lnTo>
                  <a:pt x="4532898" y="4859337"/>
                </a:lnTo>
                <a:lnTo>
                  <a:pt x="129277" y="4859337"/>
                </a:lnTo>
                <a:lnTo>
                  <a:pt x="117576" y="4855705"/>
                </a:lnTo>
                <a:cubicBezTo>
                  <a:pt x="71513" y="4836222"/>
                  <a:pt x="34611" y="4799320"/>
                  <a:pt x="15128" y="4753257"/>
                </a:cubicBezTo>
                <a:lnTo>
                  <a:pt x="0" y="4678328"/>
                </a:lnTo>
                <a:lnTo>
                  <a:pt x="0" y="181008"/>
                </a:lnTo>
                <a:lnTo>
                  <a:pt x="15128" y="106080"/>
                </a:lnTo>
                <a:cubicBezTo>
                  <a:pt x="34611" y="60017"/>
                  <a:pt x="71513" y="23115"/>
                  <a:pt x="117576" y="3632"/>
                </a:cubicBezTo>
                <a:lnTo>
                  <a:pt x="129274" y="0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20" name="Полилиния 19">
            <a:extLst>
              <a:ext uri="{FF2B5EF4-FFF2-40B4-BE49-F238E27FC236}">
                <a16:creationId xmlns:a16="http://schemas.microsoft.com/office/drawing/2014/main" id="{AD748ECC-C982-6B4C-88F1-D9C05250EFC0}"/>
              </a:ext>
            </a:extLst>
          </p:cNvPr>
          <p:cNvSpPr/>
          <p:nvPr userDrawn="1"/>
        </p:nvSpPr>
        <p:spPr>
          <a:xfrm rot="5400000">
            <a:off x="5694996" y="1340698"/>
            <a:ext cx="22608" cy="8371"/>
          </a:xfrm>
          <a:custGeom>
            <a:avLst/>
            <a:gdLst>
              <a:gd name="connsiteX0" fmla="*/ 0 w 22608"/>
              <a:gd name="connsiteY0" fmla="*/ 8371 h 8371"/>
              <a:gd name="connsiteX1" fmla="*/ 22608 w 22608"/>
              <a:gd name="connsiteY1" fmla="*/ 0 h 8371"/>
              <a:gd name="connsiteX2" fmla="*/ 22607 w 22608"/>
              <a:gd name="connsiteY2" fmla="*/ 8371 h 8371"/>
              <a:gd name="connsiteX3" fmla="*/ 0 w 22608"/>
              <a:gd name="connsiteY3" fmla="*/ 8371 h 8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608" h="8371">
                <a:moveTo>
                  <a:pt x="0" y="8371"/>
                </a:moveTo>
                <a:lnTo>
                  <a:pt x="22608" y="0"/>
                </a:lnTo>
                <a:lnTo>
                  <a:pt x="22607" y="8371"/>
                </a:lnTo>
                <a:lnTo>
                  <a:pt x="0" y="837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B0953E44-28C2-E744-92BB-10A39DACC513}"/>
              </a:ext>
            </a:extLst>
          </p:cNvPr>
          <p:cNvGrpSpPr/>
          <p:nvPr userDrawn="1"/>
        </p:nvGrpSpPr>
        <p:grpSpPr>
          <a:xfrm>
            <a:off x="5338119" y="1347617"/>
            <a:ext cx="1210963" cy="4859337"/>
            <a:chOff x="5313405" y="1347617"/>
            <a:chExt cx="1210963" cy="4859337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38B57F03-4830-B347-8EA1-C3CC678B2498}"/>
                </a:ext>
              </a:extLst>
            </p:cNvPr>
            <p:cNvSpPr/>
            <p:nvPr/>
          </p:nvSpPr>
          <p:spPr>
            <a:xfrm>
              <a:off x="5436973" y="1347617"/>
              <a:ext cx="1087395" cy="4859337"/>
            </a:xfrm>
            <a:prstGeom prst="chevron">
              <a:avLst>
                <a:gd name="adj" fmla="val 87552"/>
              </a:avLst>
            </a:prstGeom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13827FF2-80E7-9946-AD79-F575624B378A}"/>
                </a:ext>
              </a:extLst>
            </p:cNvPr>
            <p:cNvSpPr/>
            <p:nvPr/>
          </p:nvSpPr>
          <p:spPr>
            <a:xfrm>
              <a:off x="5313405" y="1347617"/>
              <a:ext cx="1087395" cy="4859337"/>
            </a:xfrm>
            <a:prstGeom prst="chevron">
              <a:avLst>
                <a:gd name="adj" fmla="val 87552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2">
            <a:extLst>
              <a:ext uri="{FF2B5EF4-FFF2-40B4-BE49-F238E27FC236}">
                <a16:creationId xmlns:a16="http://schemas.microsoft.com/office/drawing/2014/main" id="{7220B340-E1FC-7443-B4D1-D57F68C877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976C3353-E06F-F540-9C7F-62F548F02E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8F5414C5-E2C2-EA4F-B02B-9C2BF3C5451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5987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вертикальные карточки с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6F22A351-A906-FD4A-AF17-DF96C1079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0989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Рисунок 4">
            <a:extLst>
              <a:ext uri="{FF2B5EF4-FFF2-40B4-BE49-F238E27FC236}">
                <a16:creationId xmlns:a16="http://schemas.microsoft.com/office/drawing/2014/main" id="{54A7A32A-0F62-F54B-B421-C10E8509B78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20738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5" name="Рисунок 4">
            <a:extLst>
              <a:ext uri="{FF2B5EF4-FFF2-40B4-BE49-F238E27FC236}">
                <a16:creationId xmlns:a16="http://schemas.microsoft.com/office/drawing/2014/main" id="{9236F921-8E88-A648-A0FF-AA8DD6FFB8E3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83286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4">
            <a:extLst>
              <a:ext uri="{FF2B5EF4-FFF2-40B4-BE49-F238E27FC236}">
                <a16:creationId xmlns:a16="http://schemas.microsoft.com/office/drawing/2014/main" id="{4605D42A-86C6-474D-8F7F-31E9E7B65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147813" y="2311400"/>
            <a:ext cx="3248025" cy="1952625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6F7AF065-1B16-014D-99B0-A88CC6A2C6E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5F6C3B32-62C9-1349-81C3-32EEB370FA3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TextBox 27">
            <a:extLst>
              <a:ext uri="{FF2B5EF4-FFF2-40B4-BE49-F238E27FC236}">
                <a16:creationId xmlns:a16="http://schemas.microsoft.com/office/drawing/2014/main" id="{7B86F741-EC01-3043-B23A-0266623F0C7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6029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3AAE98BF-D215-5E4C-A38A-B49101B42C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369456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Рисунок 2">
            <a:extLst>
              <a:ext uri="{FF2B5EF4-FFF2-40B4-BE49-F238E27FC236}">
                <a16:creationId xmlns:a16="http://schemas.microsoft.com/office/drawing/2014/main" id="{F540E14F-28B0-7840-8873-F88D5F76C72D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1412" y="-2"/>
            <a:ext cx="6120000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5997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2">
            <a:extLst>
              <a:ext uri="{FF2B5EF4-FFF2-40B4-BE49-F238E27FC236}">
                <a16:creationId xmlns:a16="http://schemas.microsoft.com/office/drawing/2014/main" id="{79793C7B-296A-6240-9792-871DB6E2CEE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77F431C-1F2A-5E44-BDFA-93A8471B87C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8160324-1822-A64D-A7EF-818FEA4BEA2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id="{1AF2A216-EB3B-544B-924F-63FC5DBF51A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A447DCD6-CA8C-4A92-81F4-FB7F6395F63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576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75A83CC-9EE2-4449-BC43-8F9F3CB865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426446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2"/>
            <a:ext cx="4068000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Рисунок 2">
            <a:extLst>
              <a:ext uri="{FF2B5EF4-FFF2-40B4-BE49-F238E27FC236}">
                <a16:creationId xmlns:a16="http://schemas.microsoft.com/office/drawing/2014/main" id="{49DC0046-C910-434A-88C0-4A37DDB77FF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061999" y="0"/>
            <a:ext cx="4089735" cy="6857999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Рисунок 2">
            <a:extLst>
              <a:ext uri="{FF2B5EF4-FFF2-40B4-BE49-F238E27FC236}">
                <a16:creationId xmlns:a16="http://schemas.microsoft.com/office/drawing/2014/main" id="{DFCEA0CC-0AF1-4846-8714-1F4D2831B3E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151734" y="2"/>
            <a:ext cx="4040266" cy="6857998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891A38A-68ED-E14B-A600-6C40DAAFC32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993F551-2870-DD44-9793-96EA7C5FCABE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E314D1FA-E7FA-9849-BC54-2AB688CD9D6B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31529822-1A31-BE48-81E4-338C3E102713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C52DB170-0BD8-460C-95C4-93631BA8602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86692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хайлайта с фото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AF79BFCF-0513-BB43-8C0E-FD98BCB588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171365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4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Рисунок 2">
            <a:extLst>
              <a:ext uri="{FF2B5EF4-FFF2-40B4-BE49-F238E27FC236}">
                <a16:creationId xmlns:a16="http://schemas.microsoft.com/office/drawing/2014/main" id="{B2B2737D-BCC6-B549-B21D-CC779C9711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3072701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AF7ABE9-7A11-A245-8734-8344564803F6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7" name="Рисунок 2">
            <a:extLst>
              <a:ext uri="{FF2B5EF4-FFF2-40B4-BE49-F238E27FC236}">
                <a16:creationId xmlns:a16="http://schemas.microsoft.com/office/drawing/2014/main" id="{A729587E-E652-7946-8C92-DDC2AE8285EE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048234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8" name="Рисунок 2">
            <a:extLst>
              <a:ext uri="{FF2B5EF4-FFF2-40B4-BE49-F238E27FC236}">
                <a16:creationId xmlns:a16="http://schemas.microsoft.com/office/drawing/2014/main" id="{9E32ACDA-BAF1-5D42-86D5-F7ED889DBE9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083767" y="0"/>
            <a:ext cx="3060000" cy="6858000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9" name="Рисунок 2">
            <a:extLst>
              <a:ext uri="{FF2B5EF4-FFF2-40B4-BE49-F238E27FC236}">
                <a16:creationId xmlns:a16="http://schemas.microsoft.com/office/drawing/2014/main" id="{01BD0279-8285-1C4E-A108-7937827AD0C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9119298" y="-2"/>
            <a:ext cx="3072701" cy="6858001"/>
          </a:xfr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8F5D55D-FB94-FC4A-B247-84053521ABE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6">
            <a:extLst>
              <a:ext uri="{FF2B5EF4-FFF2-40B4-BE49-F238E27FC236}">
                <a16:creationId xmlns:a16="http://schemas.microsoft.com/office/drawing/2014/main" id="{120012A5-1BD7-BC42-924B-0339C44060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8556625" cy="685801"/>
          </a:xfrm>
        </p:spPr>
        <p:txBody>
          <a:bodyPr vert="horz" lIns="0" tIns="0" rIns="0" bIns="0" anchor="t">
            <a:spAutoFit/>
          </a:bodyPr>
          <a:lstStyle>
            <a:lvl1pPr marL="0" indent="0">
              <a:tabLst>
                <a:tab pos="3721100" algn="l"/>
              </a:tabLst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7C5C851D-6422-F84C-9E3B-3DCE985670D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321CE91D-6B0B-A646-8A6D-031751374C9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tx1"/>
                </a:solidFill>
              </a:rPr>
              <a:pPr algn="l"/>
              <a:t>‹#›</a:t>
            </a:fld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4C12A0-7419-954A-B4A1-6EAA8D2295E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9D8E1B5F-2E2C-FA43-A616-018BB629B8EE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95E74483-36EB-4F4A-8538-B908593BA75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12845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команд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A553710-8EB1-D749-A488-B0035412400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5315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Рисунок 13">
            <a:extLst>
              <a:ext uri="{FF2B5EF4-FFF2-40B4-BE49-F238E27FC236}">
                <a16:creationId xmlns:a16="http://schemas.microsoft.com/office/drawing/2014/main" id="{F537E8E3-816C-2544-91F9-4B33037D29C0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864343" y="13851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6" name="Рисунок 13">
            <a:extLst>
              <a:ext uri="{FF2B5EF4-FFF2-40B4-BE49-F238E27FC236}">
                <a16:creationId xmlns:a16="http://schemas.microsoft.com/office/drawing/2014/main" id="{97B0A150-AB47-874D-96C9-DE360A01A15C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86434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7" name="Рисунок 13">
            <a:extLst>
              <a:ext uri="{FF2B5EF4-FFF2-40B4-BE49-F238E27FC236}">
                <a16:creationId xmlns:a16="http://schemas.microsoft.com/office/drawing/2014/main" id="{B7E6E8E3-1174-144D-B9A7-77104747AE58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6434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8" name="Рисунок 13">
            <a:extLst>
              <a:ext uri="{FF2B5EF4-FFF2-40B4-BE49-F238E27FC236}">
                <a16:creationId xmlns:a16="http://schemas.microsoft.com/office/drawing/2014/main" id="{7BDAB4F6-51C0-F848-9832-591B5C309C46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55411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29" name="Рисунок 13">
            <a:extLst>
              <a:ext uri="{FF2B5EF4-FFF2-40B4-BE49-F238E27FC236}">
                <a16:creationId xmlns:a16="http://schemas.microsoft.com/office/drawing/2014/main" id="{A14C52C0-480A-484F-B424-8467E507D06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8243883" y="1376806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0" name="Рисунок 13">
            <a:extLst>
              <a:ext uri="{FF2B5EF4-FFF2-40B4-BE49-F238E27FC236}">
                <a16:creationId xmlns:a16="http://schemas.microsoft.com/office/drawing/2014/main" id="{0272647E-2316-CA4F-9A62-7BCA4D42E7D6}"/>
              </a:ext>
            </a:extLst>
          </p:cNvPr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5411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1" name="Рисунок 13">
            <a:extLst>
              <a:ext uri="{FF2B5EF4-FFF2-40B4-BE49-F238E27FC236}">
                <a16:creationId xmlns:a16="http://schemas.microsoft.com/office/drawing/2014/main" id="{5974A209-122A-5F41-A13F-25522C1B6E7E}"/>
              </a:ext>
            </a:extLst>
          </p:cNvPr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8243883" y="3210347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2" name="Рисунок 13">
            <a:extLst>
              <a:ext uri="{FF2B5EF4-FFF2-40B4-BE49-F238E27FC236}">
                <a16:creationId xmlns:a16="http://schemas.microsoft.com/office/drawing/2014/main" id="{4E511F35-5BA5-CA45-A4CC-D3C500DE3296}"/>
              </a:ext>
            </a:extLst>
          </p:cNvPr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455411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33" name="Рисунок 13">
            <a:extLst>
              <a:ext uri="{FF2B5EF4-FFF2-40B4-BE49-F238E27FC236}">
                <a16:creationId xmlns:a16="http://schemas.microsoft.com/office/drawing/2014/main" id="{F73DD4C3-358E-BB40-A4F1-7F39008F69AE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8243883" y="5043888"/>
            <a:ext cx="1116000" cy="1116000"/>
          </a:xfrm>
          <a:prstGeom prst="ellipse">
            <a:avLst/>
          </a:prstGeom>
          <a:pattFill prst="lgCheck">
            <a:fgClr>
              <a:schemeClr val="bg1"/>
            </a:fgClr>
            <a:bgClr>
              <a:schemeClr val="tx2"/>
            </a:bgClr>
          </a:pattFill>
          <a:ln w="19050">
            <a:solidFill>
              <a:schemeClr val="accent1"/>
            </a:solidFill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Фото</a:t>
            </a:r>
          </a:p>
        </p:txBody>
      </p:sp>
      <p:sp>
        <p:nvSpPr>
          <p:cNvPr id="18" name="Текст 2">
            <a:extLst>
              <a:ext uri="{FF2B5EF4-FFF2-40B4-BE49-F238E27FC236}">
                <a16:creationId xmlns:a16="http://schemas.microsoft.com/office/drawing/2014/main" id="{F19BE0CC-9355-3F40-936D-3F8626544E4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8E2307BE-66F3-7D44-9102-694445144759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55AF4710-4919-F146-A8CA-3C89CC5381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3758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9CA8D65A-CD26-894A-B070-5C035F2A04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343736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9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810B0541-1057-CD46-B9A5-6549F4AEE5BD}"/>
              </a:ext>
            </a:extLst>
          </p:cNvPr>
          <p:cNvGrpSpPr/>
          <p:nvPr userDrawn="1"/>
        </p:nvGrpSpPr>
        <p:grpSpPr>
          <a:xfrm>
            <a:off x="3445589" y="1348162"/>
            <a:ext cx="771073" cy="2778654"/>
            <a:chOff x="3445589" y="1348162"/>
            <a:chExt cx="771073" cy="2778654"/>
          </a:xfrm>
        </p:grpSpPr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4B4A7E79-CD9E-8046-B435-F57ACE87C22A}"/>
                </a:ext>
              </a:extLst>
            </p:cNvPr>
            <p:cNvSpPr/>
            <p:nvPr/>
          </p:nvSpPr>
          <p:spPr>
            <a:xfrm>
              <a:off x="3586782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0A198EC9-08B4-7E4D-A5B0-628EE7D8B1FA}"/>
                </a:ext>
              </a:extLst>
            </p:cNvPr>
            <p:cNvSpPr/>
            <p:nvPr/>
          </p:nvSpPr>
          <p:spPr>
            <a:xfrm>
              <a:off x="3445589" y="1348162"/>
              <a:ext cx="629880" cy="2778654"/>
            </a:xfrm>
            <a:prstGeom prst="chevron">
              <a:avLst>
                <a:gd name="adj" fmla="val 79013"/>
              </a:avLst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sp>
        <p:nvSpPr>
          <p:cNvPr id="19" name="Рисунок 18">
            <a:extLst>
              <a:ext uri="{FF2B5EF4-FFF2-40B4-BE49-F238E27FC236}">
                <a16:creationId xmlns:a16="http://schemas.microsoft.com/office/drawing/2014/main" id="{C7F3CBE2-441C-F245-B292-5E89FE31F77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4785" y="1348127"/>
            <a:ext cx="3131741" cy="2771436"/>
          </a:xfrm>
          <a:custGeom>
            <a:avLst/>
            <a:gdLst>
              <a:gd name="connsiteX0" fmla="*/ 115649 w 3131741"/>
              <a:gd name="connsiteY0" fmla="*/ 0 h 2771436"/>
              <a:gd name="connsiteX1" fmla="*/ 2638631 w 3131741"/>
              <a:gd name="connsiteY1" fmla="*/ 0 h 2771436"/>
              <a:gd name="connsiteX2" fmla="*/ 3131741 w 3131741"/>
              <a:gd name="connsiteY2" fmla="*/ 1384518 h 2771436"/>
              <a:gd name="connsiteX3" fmla="*/ 3131741 w 3131741"/>
              <a:gd name="connsiteY3" fmla="*/ 1387483 h 2771436"/>
              <a:gd name="connsiteX4" fmla="*/ 2638832 w 3131741"/>
              <a:gd name="connsiteY4" fmla="*/ 2771436 h 2771436"/>
              <a:gd name="connsiteX5" fmla="*/ 79723 w 3131741"/>
              <a:gd name="connsiteY5" fmla="*/ 2771436 h 2771436"/>
              <a:gd name="connsiteX6" fmla="*/ 70633 w 3131741"/>
              <a:gd name="connsiteY6" fmla="*/ 2769601 h 2771436"/>
              <a:gd name="connsiteX7" fmla="*/ 0 w 3131741"/>
              <a:gd name="connsiteY7" fmla="*/ 2663040 h 2771436"/>
              <a:gd name="connsiteX8" fmla="*/ 0 w 3131741"/>
              <a:gd name="connsiteY8" fmla="*/ 115649 h 2771436"/>
              <a:gd name="connsiteX9" fmla="*/ 115649 w 3131741"/>
              <a:gd name="connsiteY9" fmla="*/ 0 h 277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31741" h="2771436">
                <a:moveTo>
                  <a:pt x="115649" y="0"/>
                </a:moveTo>
                <a:lnTo>
                  <a:pt x="2638631" y="0"/>
                </a:lnTo>
                <a:lnTo>
                  <a:pt x="3131741" y="1384518"/>
                </a:lnTo>
                <a:lnTo>
                  <a:pt x="3131741" y="1387483"/>
                </a:lnTo>
                <a:lnTo>
                  <a:pt x="2638832" y="2771436"/>
                </a:lnTo>
                <a:lnTo>
                  <a:pt x="79723" y="2771436"/>
                </a:lnTo>
                <a:lnTo>
                  <a:pt x="70633" y="2769601"/>
                </a:lnTo>
                <a:cubicBezTo>
                  <a:pt x="29125" y="2752044"/>
                  <a:pt x="0" y="2710943"/>
                  <a:pt x="0" y="2663040"/>
                </a:cubicBezTo>
                <a:lnTo>
                  <a:pt x="0" y="115649"/>
                </a:lnTo>
                <a:cubicBezTo>
                  <a:pt x="0" y="51778"/>
                  <a:pt x="51778" y="0"/>
                  <a:pt x="115649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F26ABBD4-C954-894B-B2B1-49C9529E249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3611A81E-E8D2-9140-8AA6-2A2F8C3391E0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>
            <a:extLst>
              <a:ext uri="{FF2B5EF4-FFF2-40B4-BE49-F238E27FC236}">
                <a16:creationId xmlns:a16="http://schemas.microsoft.com/office/drawing/2014/main" id="{790147DF-8F69-1B45-822B-2C8CEC604618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25995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сширенный слайд с контакт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10661A6-6AFF-8544-81FE-15464A7EA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457035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Рисунок 9">
            <a:extLst>
              <a:ext uri="{FF2B5EF4-FFF2-40B4-BE49-F238E27FC236}">
                <a16:creationId xmlns:a16="http://schemas.microsoft.com/office/drawing/2014/main" id="{6866C39B-C013-2643-9A19-721E15B83DB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193800" y="1724328"/>
            <a:ext cx="1713211" cy="1712611"/>
          </a:xfrm>
          <a:custGeom>
            <a:avLst/>
            <a:gdLst>
              <a:gd name="connsiteX0" fmla="*/ 856606 w 1713211"/>
              <a:gd name="connsiteY0" fmla="*/ 0 h 1712611"/>
              <a:gd name="connsiteX1" fmla="*/ 1708790 w 1713211"/>
              <a:gd name="connsiteY1" fmla="*/ 769023 h 1712611"/>
              <a:gd name="connsiteX2" fmla="*/ 1713211 w 1713211"/>
              <a:gd name="connsiteY2" fmla="*/ 856586 h 1712611"/>
              <a:gd name="connsiteX3" fmla="*/ 1713211 w 1713211"/>
              <a:gd name="connsiteY3" fmla="*/ 856626 h 1712611"/>
              <a:gd name="connsiteX4" fmla="*/ 1708790 w 1713211"/>
              <a:gd name="connsiteY4" fmla="*/ 944189 h 1712611"/>
              <a:gd name="connsiteX5" fmla="*/ 944189 w 1713211"/>
              <a:gd name="connsiteY5" fmla="*/ 1708790 h 1712611"/>
              <a:gd name="connsiteX6" fmla="*/ 868508 w 1713211"/>
              <a:gd name="connsiteY6" fmla="*/ 1712611 h 1712611"/>
              <a:gd name="connsiteX7" fmla="*/ 844704 w 1713211"/>
              <a:gd name="connsiteY7" fmla="*/ 1712611 h 1712611"/>
              <a:gd name="connsiteX8" fmla="*/ 769023 w 1713211"/>
              <a:gd name="connsiteY8" fmla="*/ 1708790 h 1712611"/>
              <a:gd name="connsiteX9" fmla="*/ 0 w 1713211"/>
              <a:gd name="connsiteY9" fmla="*/ 856606 h 1712611"/>
              <a:gd name="connsiteX10" fmla="*/ 856606 w 1713211"/>
              <a:gd name="connsiteY10" fmla="*/ 0 h 1712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713211" h="1712611">
                <a:moveTo>
                  <a:pt x="856606" y="0"/>
                </a:moveTo>
                <a:cubicBezTo>
                  <a:pt x="1300128" y="0"/>
                  <a:pt x="1664923" y="337075"/>
                  <a:pt x="1708790" y="769023"/>
                </a:cubicBezTo>
                <a:lnTo>
                  <a:pt x="1713211" y="856586"/>
                </a:lnTo>
                <a:lnTo>
                  <a:pt x="1713211" y="856626"/>
                </a:lnTo>
                <a:lnTo>
                  <a:pt x="1708790" y="944189"/>
                </a:lnTo>
                <a:cubicBezTo>
                  <a:pt x="1667847" y="1347341"/>
                  <a:pt x="1347341" y="1667847"/>
                  <a:pt x="944189" y="1708790"/>
                </a:cubicBezTo>
                <a:lnTo>
                  <a:pt x="868508" y="1712611"/>
                </a:lnTo>
                <a:lnTo>
                  <a:pt x="844704" y="1712611"/>
                </a:lnTo>
                <a:lnTo>
                  <a:pt x="769023" y="1708790"/>
                </a:lnTo>
                <a:cubicBezTo>
                  <a:pt x="337075" y="1664923"/>
                  <a:pt x="0" y="1300128"/>
                  <a:pt x="0" y="856606"/>
                </a:cubicBezTo>
                <a:cubicBezTo>
                  <a:pt x="0" y="383516"/>
                  <a:pt x="383516" y="0"/>
                  <a:pt x="856606" y="0"/>
                </a:cubicBez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EDE18CFA-4597-C542-BD6A-BB6556226B4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id="{163F073C-BF3E-F34E-B467-C7DE312DB4CD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EFC3422F-D15C-C84F-88C3-7229DD67E0A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43054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 компан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CABB8F2-733D-7F43-AC63-395A8A1614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06770509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69D28E57-41BD-734F-ABC1-1CE649C7D8D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64397" y="-2744"/>
            <a:ext cx="7327603" cy="6863489"/>
          </a:xfrm>
          <a:custGeom>
            <a:avLst/>
            <a:gdLst>
              <a:gd name="connsiteX0" fmla="*/ 0 w 7317201"/>
              <a:gd name="connsiteY0" fmla="*/ 0 h 6844239"/>
              <a:gd name="connsiteX1" fmla="*/ 7317201 w 7317201"/>
              <a:gd name="connsiteY1" fmla="*/ 0 h 6844239"/>
              <a:gd name="connsiteX2" fmla="*/ 7317201 w 7317201"/>
              <a:gd name="connsiteY2" fmla="*/ 6844239 h 6844239"/>
              <a:gd name="connsiteX3" fmla="*/ 0 w 7317201"/>
              <a:gd name="connsiteY3" fmla="*/ 6844239 h 6844239"/>
              <a:gd name="connsiteX4" fmla="*/ 0 w 7317201"/>
              <a:gd name="connsiteY4" fmla="*/ 6825611 h 6844239"/>
              <a:gd name="connsiteX5" fmla="*/ 1183573 w 7317201"/>
              <a:gd name="connsiteY5" fmla="*/ 3424239 h 6844239"/>
              <a:gd name="connsiteX6" fmla="*/ 0 w 7317201"/>
              <a:gd name="connsiteY6" fmla="*/ 22866 h 68442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317201" h="6844239">
                <a:moveTo>
                  <a:pt x="0" y="0"/>
                </a:moveTo>
                <a:lnTo>
                  <a:pt x="7317201" y="0"/>
                </a:lnTo>
                <a:lnTo>
                  <a:pt x="7317201" y="6844239"/>
                </a:lnTo>
                <a:lnTo>
                  <a:pt x="0" y="6844239"/>
                </a:lnTo>
                <a:lnTo>
                  <a:pt x="0" y="6825611"/>
                </a:lnTo>
                <a:lnTo>
                  <a:pt x="1183573" y="3424239"/>
                </a:lnTo>
                <a:lnTo>
                  <a:pt x="0" y="22866"/>
                </a:lnTo>
                <a:close/>
              </a:path>
            </a:pathLst>
          </a:custGeom>
          <a:pattFill prst="lgCheck">
            <a:fgClr>
              <a:schemeClr val="bg1"/>
            </a:fgClr>
            <a:bgClr>
              <a:schemeClr val="tx2"/>
            </a:bgClr>
          </a:pattFill>
        </p:spPr>
        <p:txBody>
          <a:bodyPr vert="horz" wrap="square" lIns="91440" tIns="45720" rIns="91440" bIns="45720" rtlCol="0" anchor="ctr">
            <a:noAutofit/>
          </a:bodyPr>
          <a:lstStyle>
            <a:lvl1pPr>
              <a:defRPr lang="ru-RU" sz="1800" dirty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r>
              <a:rPr lang="ru-RU" dirty="0"/>
              <a:t>Изображение</a:t>
            </a:r>
          </a:p>
        </p:txBody>
      </p: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38BAF189-7717-0640-8C8C-ED5E2ED62208}"/>
              </a:ext>
            </a:extLst>
          </p:cNvPr>
          <p:cNvGrpSpPr/>
          <p:nvPr userDrawn="1"/>
        </p:nvGrpSpPr>
        <p:grpSpPr>
          <a:xfrm>
            <a:off x="4612146" y="-3357"/>
            <a:ext cx="1442729" cy="6876000"/>
            <a:chOff x="3106995" y="0"/>
            <a:chExt cx="1442729" cy="6858000"/>
          </a:xfrm>
        </p:grpSpPr>
        <p:sp>
          <p:nvSpPr>
            <p:cNvPr id="10" name="Нашивка 9">
              <a:extLst>
                <a:ext uri="{FF2B5EF4-FFF2-40B4-BE49-F238E27FC236}">
                  <a16:creationId xmlns:a16="http://schemas.microsoft.com/office/drawing/2014/main" id="{AF822873-8C8D-1043-BA6F-04B9699CC2D6}"/>
                </a:ext>
              </a:extLst>
            </p:cNvPr>
            <p:cNvSpPr/>
            <p:nvPr userDrawn="1"/>
          </p:nvSpPr>
          <p:spPr>
            <a:xfrm>
              <a:off x="3106995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1" name="Нашивка 10">
              <a:extLst>
                <a:ext uri="{FF2B5EF4-FFF2-40B4-BE49-F238E27FC236}">
                  <a16:creationId xmlns:a16="http://schemas.microsoft.com/office/drawing/2014/main" id="{953148FE-FF88-A245-8A8A-48BDA4067A84}"/>
                </a:ext>
              </a:extLst>
            </p:cNvPr>
            <p:cNvSpPr/>
            <p:nvPr userDrawn="1"/>
          </p:nvSpPr>
          <p:spPr>
            <a:xfrm>
              <a:off x="3234621" y="0"/>
              <a:ext cx="1315103" cy="6858000"/>
            </a:xfrm>
            <a:prstGeom prst="chevron">
              <a:avLst>
                <a:gd name="adj" fmla="val 89479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</a:endParaRPr>
            </a:p>
          </p:txBody>
        </p:sp>
      </p:grp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6B69F67-B055-7640-8853-181616F115A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F1C14830-24AB-4749-BC5F-7A646C87AE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3803239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AA790474-46FC-9941-AE33-0D3A2D0224A3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2C322BA2-087E-0745-A341-7E93A885438A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6836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E6EEB85F-5429-D048-AD72-EFBE1D8A2DF5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6F595A2B-72A1-E347-9CA0-14DD22536CC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14" name="Прямая соединительная линия 13">
            <a:extLst>
              <a:ext uri="{FF2B5EF4-FFF2-40B4-BE49-F238E27FC236}">
                <a16:creationId xmlns:a16="http://schemas.microsoft.com/office/drawing/2014/main" id="{6C5022CC-AF62-FF4A-B915-BCD69BA9459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516589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8109D373-A5FC-3145-A72E-19E6093F3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114090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1E0B669-4B81-314B-B237-29B03B68C51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A5206CF0-26BD-0740-9F78-3A9C35798B9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732C1E6C-0422-454C-81E2-52D60891D03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329BA9F8-54A0-E44E-93C7-F7EBC6A7E16F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A8226128-6444-A446-98BA-DF341CF84B1C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577DD2B-E2FC-2E45-8E26-31E358FB9FF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70414040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Вопрос аудитори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6686432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6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9038BD53-8F25-5D40-9289-9C57CC794676}"/>
              </a:ext>
            </a:extLst>
          </p:cNvPr>
          <p:cNvSpPr txBox="1"/>
          <p:nvPr userDrawn="1"/>
        </p:nvSpPr>
        <p:spPr>
          <a:xfrm>
            <a:off x="340191" y="-392985"/>
            <a:ext cx="4493538" cy="85561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53000" b="1" dirty="0">
                <a:gradFill flip="none" rotWithShape="1">
                  <a:gsLst>
                    <a:gs pos="0">
                      <a:schemeClr val="accent1"/>
                    </a:gs>
                    <a:gs pos="100000">
                      <a:schemeClr val="accent1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?</a:t>
            </a:r>
            <a:endParaRPr lang="ru-RU" sz="53000" b="1" dirty="0">
              <a:gradFill flip="none" rotWithShape="1">
                <a:gsLst>
                  <a:gs pos="0">
                    <a:schemeClr val="accent1"/>
                  </a:gs>
                  <a:gs pos="100000">
                    <a:schemeClr val="accent1">
                      <a:alpha val="0"/>
                    </a:schemeClr>
                  </a:gs>
                </a:gsLst>
                <a:lin ang="5400000" scaled="1"/>
                <a:tileRect/>
              </a:gradFill>
            </a:endParaRP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1854FB96-6482-7040-AEC9-31343493737F}"/>
              </a:ext>
            </a:extLst>
          </p:cNvPr>
          <p:cNvGrpSpPr/>
          <p:nvPr userDrawn="1"/>
        </p:nvGrpSpPr>
        <p:grpSpPr>
          <a:xfrm>
            <a:off x="227165" y="3801795"/>
            <a:ext cx="361110" cy="371578"/>
            <a:chOff x="383279" y="3833472"/>
            <a:chExt cx="361110" cy="371578"/>
          </a:xfrm>
        </p:grpSpPr>
        <p:sp>
          <p:nvSpPr>
            <p:cNvPr id="20" name="Нашивка 19">
              <a:extLst>
                <a:ext uri="{FF2B5EF4-FFF2-40B4-BE49-F238E27FC236}">
                  <a16:creationId xmlns:a16="http://schemas.microsoft.com/office/drawing/2014/main" id="{4505EE8C-FEC0-2C41-972F-9B231977F75A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21" name="Нашивка 20">
              <a:extLst>
                <a:ext uri="{FF2B5EF4-FFF2-40B4-BE49-F238E27FC236}">
                  <a16:creationId xmlns:a16="http://schemas.microsoft.com/office/drawing/2014/main" id="{284537A5-A020-3B46-96F7-D48FB25F2653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22" name="Текст 4">
            <a:extLst>
              <a:ext uri="{FF2B5EF4-FFF2-40B4-BE49-F238E27FC236}">
                <a16:creationId xmlns:a16="http://schemas.microsoft.com/office/drawing/2014/main" id="{D19FA497-049D-C040-99F2-FE82689E4CF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3275" y="4358993"/>
            <a:ext cx="8323263" cy="1841782"/>
          </a:xfrm>
        </p:spPr>
        <p:txBody>
          <a:bodyPr lIns="0" tIns="0" rIns="0" bIns="0" anchor="t">
            <a:norm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4" name="Текст 17">
            <a:extLst>
              <a:ext uri="{FF2B5EF4-FFF2-40B4-BE49-F238E27FC236}">
                <a16:creationId xmlns:a16="http://schemas.microsoft.com/office/drawing/2014/main" id="{50AAAD90-B1BF-E248-AE25-D0D473D1387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3620806"/>
            <a:ext cx="8323263" cy="738188"/>
          </a:xfrm>
        </p:spPr>
        <p:txBody>
          <a:bodyPr lIns="0" tIns="0" rIns="0" bIns="0" anchor="ctr">
            <a:norm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Вопрос аудитории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320604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одведем итоги">
    <p:bg>
      <p:bgPr>
        <a:gradFill>
          <a:gsLst>
            <a:gs pos="95000">
              <a:schemeClr val="accent1"/>
            </a:gs>
            <a:gs pos="300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747083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A03485A6-5304-D840-B8BB-5B8A3C47D176}"/>
              </a:ext>
            </a:extLst>
          </p:cNvPr>
          <p:cNvSpPr txBox="1"/>
          <p:nvPr userDrawn="1"/>
        </p:nvSpPr>
        <p:spPr>
          <a:xfrm>
            <a:off x="9126538" y="-392985"/>
            <a:ext cx="2448106" cy="824841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53000" b="1" dirty="0">
                <a:gradFill flip="none" rotWithShape="1">
                  <a:gsLst>
                    <a:gs pos="0">
                      <a:schemeClr val="accent3"/>
                    </a:gs>
                    <a:gs pos="100000">
                      <a:schemeClr val="accent3">
                        <a:alpha val="0"/>
                      </a:schemeClr>
                    </a:gs>
                  </a:gsLst>
                  <a:lin ang="5400000" scaled="1"/>
                  <a:tileRect/>
                </a:gradFill>
              </a:rPr>
              <a:t>!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7E21928B-D3A1-3D41-B06A-2C5B0B51A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747"/>
            <a:ext cx="1065725" cy="355419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B0D6D61-9134-1C46-8701-29DD0B986DE3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02C8AA36-B22B-AE43-B38E-09068C80391A}"/>
              </a:ext>
            </a:extLst>
          </p:cNvPr>
          <p:cNvGrpSpPr/>
          <p:nvPr userDrawn="1"/>
        </p:nvGrpSpPr>
        <p:grpSpPr>
          <a:xfrm>
            <a:off x="227165" y="1353092"/>
            <a:ext cx="361110" cy="371578"/>
            <a:chOff x="383279" y="3833472"/>
            <a:chExt cx="361110" cy="371578"/>
          </a:xfrm>
        </p:grpSpPr>
        <p:sp>
          <p:nvSpPr>
            <p:cNvPr id="13" name="Нашивка 12">
              <a:extLst>
                <a:ext uri="{FF2B5EF4-FFF2-40B4-BE49-F238E27FC236}">
                  <a16:creationId xmlns:a16="http://schemas.microsoft.com/office/drawing/2014/main" id="{72F3EBDB-5783-E445-AFD7-0024F7012003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4" name="Нашивка 13">
              <a:extLst>
                <a:ext uri="{FF2B5EF4-FFF2-40B4-BE49-F238E27FC236}">
                  <a16:creationId xmlns:a16="http://schemas.microsoft.com/office/drawing/2014/main" id="{E2822CAD-EADF-BF4C-8DC3-8D9F65968E4F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Текст 17">
            <a:extLst>
              <a:ext uri="{FF2B5EF4-FFF2-40B4-BE49-F238E27FC236}">
                <a16:creationId xmlns:a16="http://schemas.microsoft.com/office/drawing/2014/main" id="{EC8B8A80-E4D6-6242-B68B-0BFB25E1BCF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3275" y="1319598"/>
            <a:ext cx="8323263" cy="443198"/>
          </a:xfrm>
        </p:spPr>
        <p:txBody>
          <a:bodyPr lIns="0" tIns="0" rIns="0" bIns="0" anchor="ctr">
            <a:spAutoFit/>
          </a:bodyPr>
          <a:lstStyle>
            <a:lvl1pPr marL="0" indent="0">
              <a:buFontTx/>
              <a:buNone/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Подведем итоги</a:t>
            </a:r>
          </a:p>
        </p:txBody>
      </p:sp>
    </p:spTree>
    <p:extLst>
      <p:ext uri="{BB962C8B-B14F-4D97-AF65-F5344CB8AC3E}">
        <p14:creationId xmlns:p14="http://schemas.microsoft.com/office/powerpoint/2010/main" val="81580416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 с горой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2F44F8C-947C-1644-A927-26E4B6403B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812978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1FC1B4EF-64D7-894B-8937-1E4CB50F3D07}"/>
              </a:ext>
            </a:extLst>
          </p:cNvPr>
          <p:cNvSpPr txBox="1"/>
          <p:nvPr userDrawn="1"/>
        </p:nvSpPr>
        <p:spPr>
          <a:xfrm>
            <a:off x="11049960" y="6462296"/>
            <a:ext cx="338765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r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олилиния 7">
            <a:extLst>
              <a:ext uri="{FF2B5EF4-FFF2-40B4-BE49-F238E27FC236}">
                <a16:creationId xmlns:a16="http://schemas.microsoft.com/office/drawing/2014/main" id="{435A7BF7-A0FA-AA42-AC3A-05BE8E91E4EB}"/>
              </a:ext>
            </a:extLst>
          </p:cNvPr>
          <p:cNvSpPr/>
          <p:nvPr userDrawn="1"/>
        </p:nvSpPr>
        <p:spPr>
          <a:xfrm>
            <a:off x="-1" y="2108516"/>
            <a:ext cx="6460790" cy="4756444"/>
          </a:xfrm>
          <a:custGeom>
            <a:avLst/>
            <a:gdLst>
              <a:gd name="connsiteX0" fmla="*/ 1364852 w 6460790"/>
              <a:gd name="connsiteY0" fmla="*/ 0 h 4756444"/>
              <a:gd name="connsiteX1" fmla="*/ 2305876 w 6460790"/>
              <a:gd name="connsiteY1" fmla="*/ 500338 h 4756444"/>
              <a:gd name="connsiteX2" fmla="*/ 2317966 w 6460790"/>
              <a:gd name="connsiteY2" fmla="*/ 522612 h 4756444"/>
              <a:gd name="connsiteX3" fmla="*/ 2334528 w 6460790"/>
              <a:gd name="connsiteY3" fmla="*/ 469258 h 4756444"/>
              <a:gd name="connsiteX4" fmla="*/ 2779103 w 6460790"/>
              <a:gd name="connsiteY4" fmla="*/ 174573 h 4756444"/>
              <a:gd name="connsiteX5" fmla="*/ 3251793 w 6460790"/>
              <a:gd name="connsiteY5" fmla="*/ 559826 h 4756444"/>
              <a:gd name="connsiteX6" fmla="*/ 3256247 w 6460790"/>
              <a:gd name="connsiteY6" fmla="*/ 604013 h 4756444"/>
              <a:gd name="connsiteX7" fmla="*/ 3328199 w 6460790"/>
              <a:gd name="connsiteY7" fmla="*/ 577678 h 4756444"/>
              <a:gd name="connsiteX8" fmla="*/ 3585139 w 6460790"/>
              <a:gd name="connsiteY8" fmla="*/ 538832 h 4756444"/>
              <a:gd name="connsiteX9" fmla="*/ 4449183 w 6460790"/>
              <a:gd name="connsiteY9" fmla="*/ 1402876 h 4756444"/>
              <a:gd name="connsiteX10" fmla="*/ 4434754 w 6460790"/>
              <a:gd name="connsiteY10" fmla="*/ 1546011 h 4756444"/>
              <a:gd name="connsiteX11" fmla="*/ 4468094 w 6460790"/>
              <a:gd name="connsiteY11" fmla="*/ 1523927 h 4756444"/>
              <a:gd name="connsiteX12" fmla="*/ 4870315 w 6460790"/>
              <a:gd name="connsiteY12" fmla="*/ 1416867 h 4756444"/>
              <a:gd name="connsiteX13" fmla="*/ 5678383 w 6460790"/>
              <a:gd name="connsiteY13" fmla="*/ 2224935 h 4756444"/>
              <a:gd name="connsiteX14" fmla="*/ 5673958 w 6460790"/>
              <a:gd name="connsiteY14" fmla="*/ 2268836 h 4756444"/>
              <a:gd name="connsiteX15" fmla="*/ 5799483 w 6460790"/>
              <a:gd name="connsiteY15" fmla="*/ 2256182 h 4756444"/>
              <a:gd name="connsiteX16" fmla="*/ 6460790 w 6460790"/>
              <a:gd name="connsiteY16" fmla="*/ 2917489 h 4756444"/>
              <a:gd name="connsiteX17" fmla="*/ 6056894 w 6460790"/>
              <a:gd name="connsiteY17" fmla="*/ 3526828 h 4756444"/>
              <a:gd name="connsiteX18" fmla="*/ 5941507 w 6460790"/>
              <a:gd name="connsiteY18" fmla="*/ 3562646 h 4756444"/>
              <a:gd name="connsiteX19" fmla="*/ 5945079 w 6460790"/>
              <a:gd name="connsiteY19" fmla="*/ 3643478 h 4756444"/>
              <a:gd name="connsiteX20" fmla="*/ 5497696 w 6460790"/>
              <a:gd name="connsiteY20" fmla="*/ 4723556 h 4756444"/>
              <a:gd name="connsiteX21" fmla="*/ 5461510 w 6460790"/>
              <a:gd name="connsiteY21" fmla="*/ 4756444 h 4756444"/>
              <a:gd name="connsiteX22" fmla="*/ 3373726 w 6460790"/>
              <a:gd name="connsiteY22" fmla="*/ 4756444 h 4756444"/>
              <a:gd name="connsiteX23" fmla="*/ 3337540 w 6460790"/>
              <a:gd name="connsiteY23" fmla="*/ 4723556 h 4756444"/>
              <a:gd name="connsiteX24" fmla="*/ 3300218 w 6460790"/>
              <a:gd name="connsiteY24" fmla="*/ 4682491 h 4756444"/>
              <a:gd name="connsiteX25" fmla="*/ 3214236 w 6460790"/>
              <a:gd name="connsiteY25" fmla="*/ 4746788 h 4756444"/>
              <a:gd name="connsiteX26" fmla="*/ 3197436 w 6460790"/>
              <a:gd name="connsiteY26" fmla="*/ 4756444 h 4756444"/>
              <a:gd name="connsiteX27" fmla="*/ 0 w 6460790"/>
              <a:gd name="connsiteY27" fmla="*/ 4756444 h 4756444"/>
              <a:gd name="connsiteX28" fmla="*/ 0 w 6460790"/>
              <a:gd name="connsiteY28" fmla="*/ 788938 h 4756444"/>
              <a:gd name="connsiteX29" fmla="*/ 47629 w 6460790"/>
              <a:gd name="connsiteY29" fmla="*/ 781669 h 4756444"/>
              <a:gd name="connsiteX30" fmla="*/ 138597 w 6460790"/>
              <a:gd name="connsiteY30" fmla="*/ 777075 h 4756444"/>
              <a:gd name="connsiteX31" fmla="*/ 274091 w 6460790"/>
              <a:gd name="connsiteY31" fmla="*/ 787327 h 4756444"/>
              <a:gd name="connsiteX32" fmla="*/ 283886 w 6460790"/>
              <a:gd name="connsiteY32" fmla="*/ 789584 h 4756444"/>
              <a:gd name="connsiteX33" fmla="*/ 319197 w 6460790"/>
              <a:gd name="connsiteY33" fmla="*/ 693107 h 4756444"/>
              <a:gd name="connsiteX34" fmla="*/ 1364852 w 6460790"/>
              <a:gd name="connsiteY34" fmla="*/ 0 h 475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6460790" h="4756444">
                <a:moveTo>
                  <a:pt x="1364852" y="0"/>
                </a:moveTo>
                <a:cubicBezTo>
                  <a:pt x="1756573" y="0"/>
                  <a:pt x="2101938" y="198470"/>
                  <a:pt x="2305876" y="500338"/>
                </a:cubicBezTo>
                <a:lnTo>
                  <a:pt x="2317966" y="522612"/>
                </a:lnTo>
                <a:lnTo>
                  <a:pt x="2334528" y="469258"/>
                </a:lnTo>
                <a:cubicBezTo>
                  <a:pt x="2407774" y="296084"/>
                  <a:pt x="2579248" y="174573"/>
                  <a:pt x="2779103" y="174573"/>
                </a:cubicBezTo>
                <a:cubicBezTo>
                  <a:pt x="3012267" y="174573"/>
                  <a:pt x="3206802" y="339963"/>
                  <a:pt x="3251793" y="559826"/>
                </a:cubicBezTo>
                <a:lnTo>
                  <a:pt x="3256247" y="604013"/>
                </a:lnTo>
                <a:lnTo>
                  <a:pt x="3328199" y="577678"/>
                </a:lnTo>
                <a:cubicBezTo>
                  <a:pt x="3409366" y="552432"/>
                  <a:pt x="3495665" y="538832"/>
                  <a:pt x="3585139" y="538832"/>
                </a:cubicBezTo>
                <a:cubicBezTo>
                  <a:pt x="4062337" y="538832"/>
                  <a:pt x="4449183" y="925678"/>
                  <a:pt x="4449183" y="1402876"/>
                </a:cubicBezTo>
                <a:lnTo>
                  <a:pt x="4434754" y="1546011"/>
                </a:lnTo>
                <a:lnTo>
                  <a:pt x="4468094" y="1523927"/>
                </a:lnTo>
                <a:cubicBezTo>
                  <a:pt x="4586539" y="1455819"/>
                  <a:pt x="4723878" y="1416867"/>
                  <a:pt x="4870315" y="1416867"/>
                </a:cubicBezTo>
                <a:cubicBezTo>
                  <a:pt x="5316599" y="1416867"/>
                  <a:pt x="5678383" y="1778651"/>
                  <a:pt x="5678383" y="2224935"/>
                </a:cubicBezTo>
                <a:lnTo>
                  <a:pt x="5673958" y="2268836"/>
                </a:lnTo>
                <a:lnTo>
                  <a:pt x="5799483" y="2256182"/>
                </a:lnTo>
                <a:cubicBezTo>
                  <a:pt x="6164713" y="2256182"/>
                  <a:pt x="6460790" y="2552259"/>
                  <a:pt x="6460790" y="2917489"/>
                </a:cubicBezTo>
                <a:cubicBezTo>
                  <a:pt x="6460790" y="3191412"/>
                  <a:pt x="6294247" y="3426436"/>
                  <a:pt x="6056894" y="3526828"/>
                </a:cubicBezTo>
                <a:lnTo>
                  <a:pt x="5941507" y="3562646"/>
                </a:lnTo>
                <a:lnTo>
                  <a:pt x="5945079" y="3643478"/>
                </a:lnTo>
                <a:cubicBezTo>
                  <a:pt x="5945079" y="4065275"/>
                  <a:pt x="5774112" y="4447140"/>
                  <a:pt x="5497696" y="4723556"/>
                </a:cubicBezTo>
                <a:lnTo>
                  <a:pt x="5461510" y="4756444"/>
                </a:lnTo>
                <a:lnTo>
                  <a:pt x="3373726" y="4756444"/>
                </a:lnTo>
                <a:lnTo>
                  <a:pt x="3337540" y="4723556"/>
                </a:lnTo>
                <a:lnTo>
                  <a:pt x="3300218" y="4682491"/>
                </a:lnTo>
                <a:lnTo>
                  <a:pt x="3214236" y="4746788"/>
                </a:lnTo>
                <a:lnTo>
                  <a:pt x="3197436" y="4756444"/>
                </a:lnTo>
                <a:lnTo>
                  <a:pt x="0" y="4756444"/>
                </a:lnTo>
                <a:lnTo>
                  <a:pt x="0" y="788938"/>
                </a:lnTo>
                <a:lnTo>
                  <a:pt x="47629" y="781669"/>
                </a:lnTo>
                <a:cubicBezTo>
                  <a:pt x="77539" y="778631"/>
                  <a:pt x="107886" y="777075"/>
                  <a:pt x="138597" y="777075"/>
                </a:cubicBezTo>
                <a:cubicBezTo>
                  <a:pt x="184663" y="777075"/>
                  <a:pt x="229912" y="780576"/>
                  <a:pt x="274091" y="787327"/>
                </a:cubicBezTo>
                <a:lnTo>
                  <a:pt x="283886" y="789584"/>
                </a:lnTo>
                <a:lnTo>
                  <a:pt x="319197" y="693107"/>
                </a:lnTo>
                <a:cubicBezTo>
                  <a:pt x="491474" y="285797"/>
                  <a:pt x="894787" y="0"/>
                  <a:pt x="13648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802AD1-766A-DE45-9A3D-BBC3CBD18CC0}"/>
              </a:ext>
            </a:extLst>
          </p:cNvPr>
          <p:cNvSpPr txBox="1"/>
          <p:nvPr userDrawn="1"/>
        </p:nvSpPr>
        <p:spPr>
          <a:xfrm>
            <a:off x="9388251" y="1920638"/>
            <a:ext cx="65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endParaRPr lang="ru-RU" dirty="0"/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59B9762A-D661-004B-AA68-25A2ABE391B5}"/>
              </a:ext>
            </a:extLst>
          </p:cNvPr>
          <p:cNvGrpSpPr/>
          <p:nvPr userDrawn="1"/>
        </p:nvGrpSpPr>
        <p:grpSpPr>
          <a:xfrm>
            <a:off x="2743200" y="3128963"/>
            <a:ext cx="9458325" cy="3771902"/>
            <a:chOff x="2743200" y="3128963"/>
            <a:chExt cx="9458325" cy="3771902"/>
          </a:xfrm>
        </p:grpSpPr>
        <p:sp>
          <p:nvSpPr>
            <p:cNvPr id="13" name="Полилиния 12">
              <a:extLst>
                <a:ext uri="{FF2B5EF4-FFF2-40B4-BE49-F238E27FC236}">
                  <a16:creationId xmlns:a16="http://schemas.microsoft.com/office/drawing/2014/main" id="{245F897D-F2E4-AE4F-AB0A-7347E2F985FF}"/>
                </a:ext>
              </a:extLst>
            </p:cNvPr>
            <p:cNvSpPr/>
            <p:nvPr/>
          </p:nvSpPr>
          <p:spPr>
            <a:xfrm>
              <a:off x="2786063" y="3128963"/>
              <a:ext cx="9415462" cy="3743325"/>
            </a:xfrm>
            <a:custGeom>
              <a:avLst/>
              <a:gdLst>
                <a:gd name="connsiteX0" fmla="*/ 0 w 9415462"/>
                <a:gd name="connsiteY0" fmla="*/ 3743325 h 3743325"/>
                <a:gd name="connsiteX1" fmla="*/ 1557337 w 9415462"/>
                <a:gd name="connsiteY1" fmla="*/ 2386012 h 3743325"/>
                <a:gd name="connsiteX2" fmla="*/ 2128837 w 9415462"/>
                <a:gd name="connsiteY2" fmla="*/ 2686050 h 3743325"/>
                <a:gd name="connsiteX3" fmla="*/ 3629025 w 9415462"/>
                <a:gd name="connsiteY3" fmla="*/ 957262 h 3743325"/>
                <a:gd name="connsiteX4" fmla="*/ 4300537 w 9415462"/>
                <a:gd name="connsiteY4" fmla="*/ 1600200 h 3743325"/>
                <a:gd name="connsiteX5" fmla="*/ 5715000 w 9415462"/>
                <a:gd name="connsiteY5" fmla="*/ 0 h 3743325"/>
                <a:gd name="connsiteX6" fmla="*/ 7100887 w 9415462"/>
                <a:gd name="connsiteY6" fmla="*/ 1243012 h 3743325"/>
                <a:gd name="connsiteX7" fmla="*/ 8258175 w 9415462"/>
                <a:gd name="connsiteY7" fmla="*/ 1042987 h 3743325"/>
                <a:gd name="connsiteX8" fmla="*/ 9172575 w 9415462"/>
                <a:gd name="connsiteY8" fmla="*/ 1671637 h 3743325"/>
                <a:gd name="connsiteX9" fmla="*/ 9401175 w 9415462"/>
                <a:gd name="connsiteY9" fmla="*/ 1585912 h 3743325"/>
                <a:gd name="connsiteX10" fmla="*/ 9415462 w 9415462"/>
                <a:gd name="connsiteY10" fmla="*/ 3743325 h 3743325"/>
                <a:gd name="connsiteX11" fmla="*/ 0 w 9415462"/>
                <a:gd name="connsiteY11" fmla="*/ 3743325 h 3743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415462" h="3743325">
                  <a:moveTo>
                    <a:pt x="0" y="3743325"/>
                  </a:moveTo>
                  <a:lnTo>
                    <a:pt x="1557337" y="2386012"/>
                  </a:lnTo>
                  <a:lnTo>
                    <a:pt x="2128837" y="2686050"/>
                  </a:lnTo>
                  <a:lnTo>
                    <a:pt x="3629025" y="957262"/>
                  </a:lnTo>
                  <a:lnTo>
                    <a:pt x="4300537" y="1600200"/>
                  </a:lnTo>
                  <a:lnTo>
                    <a:pt x="5715000" y="0"/>
                  </a:lnTo>
                  <a:lnTo>
                    <a:pt x="7100887" y="1243012"/>
                  </a:lnTo>
                  <a:lnTo>
                    <a:pt x="8258175" y="1042987"/>
                  </a:lnTo>
                  <a:lnTo>
                    <a:pt x="9172575" y="1671637"/>
                  </a:lnTo>
                  <a:lnTo>
                    <a:pt x="9401175" y="1585912"/>
                  </a:lnTo>
                  <a:cubicBezTo>
                    <a:pt x="9405937" y="2305050"/>
                    <a:pt x="9410700" y="3024187"/>
                    <a:pt x="9415462" y="3743325"/>
                  </a:cubicBezTo>
                  <a:lnTo>
                    <a:pt x="0" y="3743325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4" name="Полилиния 13">
              <a:extLst>
                <a:ext uri="{FF2B5EF4-FFF2-40B4-BE49-F238E27FC236}">
                  <a16:creationId xmlns:a16="http://schemas.microsoft.com/office/drawing/2014/main" id="{0B32C7D0-36EF-DE49-A525-8E4F0D44B3BD}"/>
                </a:ext>
              </a:extLst>
            </p:cNvPr>
            <p:cNvSpPr/>
            <p:nvPr/>
          </p:nvSpPr>
          <p:spPr>
            <a:xfrm>
              <a:off x="4347396" y="5523567"/>
              <a:ext cx="567770" cy="865510"/>
            </a:xfrm>
            <a:custGeom>
              <a:avLst/>
              <a:gdLst>
                <a:gd name="connsiteX0" fmla="*/ 0 w 521677"/>
                <a:gd name="connsiteY0" fmla="*/ 0 h 849923"/>
                <a:gd name="connsiteX1" fmla="*/ 263769 w 521677"/>
                <a:gd name="connsiteY1" fmla="*/ 310661 h 849923"/>
                <a:gd name="connsiteX2" fmla="*/ 23446 w 521677"/>
                <a:gd name="connsiteY2" fmla="*/ 398584 h 849923"/>
                <a:gd name="connsiteX3" fmla="*/ 263769 w 521677"/>
                <a:gd name="connsiteY3" fmla="*/ 849923 h 849923"/>
                <a:gd name="connsiteX4" fmla="*/ 304800 w 521677"/>
                <a:gd name="connsiteY4" fmla="*/ 492369 h 849923"/>
                <a:gd name="connsiteX5" fmla="*/ 521677 w 521677"/>
                <a:gd name="connsiteY5" fmla="*/ 416169 h 849923"/>
                <a:gd name="connsiteX6" fmla="*/ 515816 w 521677"/>
                <a:gd name="connsiteY6" fmla="*/ 252046 h 849923"/>
                <a:gd name="connsiteX7" fmla="*/ 0 w 521677"/>
                <a:gd name="connsiteY7" fmla="*/ 0 h 849923"/>
                <a:gd name="connsiteX0" fmla="*/ 0 w 536597"/>
                <a:gd name="connsiteY0" fmla="*/ 0 h 849923"/>
                <a:gd name="connsiteX1" fmla="*/ 263769 w 536597"/>
                <a:gd name="connsiteY1" fmla="*/ 310661 h 849923"/>
                <a:gd name="connsiteX2" fmla="*/ 23446 w 536597"/>
                <a:gd name="connsiteY2" fmla="*/ 398584 h 849923"/>
                <a:gd name="connsiteX3" fmla="*/ 263769 w 536597"/>
                <a:gd name="connsiteY3" fmla="*/ 849923 h 849923"/>
                <a:gd name="connsiteX4" fmla="*/ 304800 w 536597"/>
                <a:gd name="connsiteY4" fmla="*/ 492369 h 849923"/>
                <a:gd name="connsiteX5" fmla="*/ 521677 w 536597"/>
                <a:gd name="connsiteY5" fmla="*/ 416169 h 849923"/>
                <a:gd name="connsiteX6" fmla="*/ 536597 w 536597"/>
                <a:gd name="connsiteY6" fmla="*/ 272828 h 849923"/>
                <a:gd name="connsiteX7" fmla="*/ 0 w 536597"/>
                <a:gd name="connsiteY7" fmla="*/ 0 h 849923"/>
                <a:gd name="connsiteX0" fmla="*/ 0 w 567770"/>
                <a:gd name="connsiteY0" fmla="*/ 0 h 865510"/>
                <a:gd name="connsiteX1" fmla="*/ 294942 w 567770"/>
                <a:gd name="connsiteY1" fmla="*/ 326248 h 865510"/>
                <a:gd name="connsiteX2" fmla="*/ 54619 w 567770"/>
                <a:gd name="connsiteY2" fmla="*/ 414171 h 865510"/>
                <a:gd name="connsiteX3" fmla="*/ 294942 w 567770"/>
                <a:gd name="connsiteY3" fmla="*/ 865510 h 865510"/>
                <a:gd name="connsiteX4" fmla="*/ 335973 w 567770"/>
                <a:gd name="connsiteY4" fmla="*/ 507956 h 865510"/>
                <a:gd name="connsiteX5" fmla="*/ 552850 w 567770"/>
                <a:gd name="connsiteY5" fmla="*/ 431756 h 865510"/>
                <a:gd name="connsiteX6" fmla="*/ 567770 w 567770"/>
                <a:gd name="connsiteY6" fmla="*/ 288415 h 865510"/>
                <a:gd name="connsiteX7" fmla="*/ 0 w 567770"/>
                <a:gd name="connsiteY7" fmla="*/ 0 h 8655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567770" h="865510">
                  <a:moveTo>
                    <a:pt x="0" y="0"/>
                  </a:moveTo>
                  <a:lnTo>
                    <a:pt x="294942" y="326248"/>
                  </a:lnTo>
                  <a:lnTo>
                    <a:pt x="54619" y="414171"/>
                  </a:lnTo>
                  <a:lnTo>
                    <a:pt x="294942" y="865510"/>
                  </a:lnTo>
                  <a:lnTo>
                    <a:pt x="335973" y="507956"/>
                  </a:lnTo>
                  <a:lnTo>
                    <a:pt x="552850" y="431756"/>
                  </a:lnTo>
                  <a:lnTo>
                    <a:pt x="567770" y="2884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олилиния 14">
              <a:extLst>
                <a:ext uri="{FF2B5EF4-FFF2-40B4-BE49-F238E27FC236}">
                  <a16:creationId xmlns:a16="http://schemas.microsoft.com/office/drawing/2014/main" id="{C45EBF49-D586-DB41-8FBE-08934BC9980A}"/>
                </a:ext>
              </a:extLst>
            </p:cNvPr>
            <p:cNvSpPr/>
            <p:nvPr/>
          </p:nvSpPr>
          <p:spPr>
            <a:xfrm>
              <a:off x="6422382" y="4112934"/>
              <a:ext cx="2217526" cy="2434403"/>
            </a:xfrm>
            <a:custGeom>
              <a:avLst/>
              <a:gdLst>
                <a:gd name="connsiteX0" fmla="*/ 0 w 2186354"/>
                <a:gd name="connsiteY0" fmla="*/ 0 h 2403230"/>
                <a:gd name="connsiteX1" fmla="*/ 234461 w 2186354"/>
                <a:gd name="connsiteY1" fmla="*/ 674077 h 2403230"/>
                <a:gd name="connsiteX2" fmla="*/ 76200 w 2186354"/>
                <a:gd name="connsiteY2" fmla="*/ 668215 h 2403230"/>
                <a:gd name="connsiteX3" fmla="*/ 281354 w 2186354"/>
                <a:gd name="connsiteY3" fmla="*/ 1119554 h 2403230"/>
                <a:gd name="connsiteX4" fmla="*/ 41031 w 2186354"/>
                <a:gd name="connsiteY4" fmla="*/ 1137138 h 2403230"/>
                <a:gd name="connsiteX5" fmla="*/ 527538 w 2186354"/>
                <a:gd name="connsiteY5" fmla="*/ 1565030 h 2403230"/>
                <a:gd name="connsiteX6" fmla="*/ 2186354 w 2186354"/>
                <a:gd name="connsiteY6" fmla="*/ 2403230 h 2403230"/>
                <a:gd name="connsiteX7" fmla="*/ 738554 w 2186354"/>
                <a:gd name="connsiteY7" fmla="*/ 1500554 h 2403230"/>
                <a:gd name="connsiteX8" fmla="*/ 1019908 w 2186354"/>
                <a:gd name="connsiteY8" fmla="*/ 973015 h 2403230"/>
                <a:gd name="connsiteX9" fmla="*/ 674077 w 2186354"/>
                <a:gd name="connsiteY9" fmla="*/ 855784 h 2403230"/>
                <a:gd name="connsiteX10" fmla="*/ 621323 w 2186354"/>
                <a:gd name="connsiteY10" fmla="*/ 568569 h 2403230"/>
                <a:gd name="connsiteX11" fmla="*/ 0 w 2186354"/>
                <a:gd name="connsiteY11" fmla="*/ 0 h 2403230"/>
                <a:gd name="connsiteX0" fmla="*/ 0 w 2217526"/>
                <a:gd name="connsiteY0" fmla="*/ 0 h 2434403"/>
                <a:gd name="connsiteX1" fmla="*/ 265633 w 2217526"/>
                <a:gd name="connsiteY1" fmla="*/ 705250 h 2434403"/>
                <a:gd name="connsiteX2" fmla="*/ 107372 w 2217526"/>
                <a:gd name="connsiteY2" fmla="*/ 699388 h 2434403"/>
                <a:gd name="connsiteX3" fmla="*/ 312526 w 2217526"/>
                <a:gd name="connsiteY3" fmla="*/ 1150727 h 2434403"/>
                <a:gd name="connsiteX4" fmla="*/ 72203 w 2217526"/>
                <a:gd name="connsiteY4" fmla="*/ 1168311 h 2434403"/>
                <a:gd name="connsiteX5" fmla="*/ 558710 w 2217526"/>
                <a:gd name="connsiteY5" fmla="*/ 1596203 h 2434403"/>
                <a:gd name="connsiteX6" fmla="*/ 2217526 w 2217526"/>
                <a:gd name="connsiteY6" fmla="*/ 2434403 h 2434403"/>
                <a:gd name="connsiteX7" fmla="*/ 769726 w 2217526"/>
                <a:gd name="connsiteY7" fmla="*/ 1531727 h 2434403"/>
                <a:gd name="connsiteX8" fmla="*/ 1051080 w 2217526"/>
                <a:gd name="connsiteY8" fmla="*/ 1004188 h 2434403"/>
                <a:gd name="connsiteX9" fmla="*/ 705249 w 2217526"/>
                <a:gd name="connsiteY9" fmla="*/ 886957 h 2434403"/>
                <a:gd name="connsiteX10" fmla="*/ 652495 w 2217526"/>
                <a:gd name="connsiteY10" fmla="*/ 599742 h 2434403"/>
                <a:gd name="connsiteX11" fmla="*/ 0 w 2217526"/>
                <a:gd name="connsiteY11" fmla="*/ 0 h 24344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217526" h="2434403">
                  <a:moveTo>
                    <a:pt x="0" y="0"/>
                  </a:moveTo>
                  <a:lnTo>
                    <a:pt x="265633" y="705250"/>
                  </a:lnTo>
                  <a:lnTo>
                    <a:pt x="107372" y="699388"/>
                  </a:lnTo>
                  <a:lnTo>
                    <a:pt x="312526" y="1150727"/>
                  </a:lnTo>
                  <a:lnTo>
                    <a:pt x="72203" y="1168311"/>
                  </a:lnTo>
                  <a:lnTo>
                    <a:pt x="558710" y="1596203"/>
                  </a:lnTo>
                  <a:lnTo>
                    <a:pt x="2217526" y="2434403"/>
                  </a:lnTo>
                  <a:lnTo>
                    <a:pt x="769726" y="1531727"/>
                  </a:lnTo>
                  <a:lnTo>
                    <a:pt x="1051080" y="1004188"/>
                  </a:lnTo>
                  <a:lnTo>
                    <a:pt x="705249" y="886957"/>
                  </a:lnTo>
                  <a:lnTo>
                    <a:pt x="652495" y="5997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олилиния 15">
              <a:extLst>
                <a:ext uri="{FF2B5EF4-FFF2-40B4-BE49-F238E27FC236}">
                  <a16:creationId xmlns:a16="http://schemas.microsoft.com/office/drawing/2014/main" id="{8DCAA507-2613-8B49-A2D7-5AAB45B6277A}"/>
                </a:ext>
              </a:extLst>
            </p:cNvPr>
            <p:cNvSpPr/>
            <p:nvPr/>
          </p:nvSpPr>
          <p:spPr>
            <a:xfrm>
              <a:off x="8523875" y="3160566"/>
              <a:ext cx="1710371" cy="2783033"/>
            </a:xfrm>
            <a:custGeom>
              <a:avLst/>
              <a:gdLst>
                <a:gd name="connsiteX0" fmla="*/ 0 w 1746738"/>
                <a:gd name="connsiteY0" fmla="*/ 0 h 2819400"/>
                <a:gd name="connsiteX1" fmla="*/ 504092 w 1746738"/>
                <a:gd name="connsiteY1" fmla="*/ 978877 h 2819400"/>
                <a:gd name="connsiteX2" fmla="*/ 87923 w 1746738"/>
                <a:gd name="connsiteY2" fmla="*/ 1031631 h 2819400"/>
                <a:gd name="connsiteX3" fmla="*/ 1277815 w 1746738"/>
                <a:gd name="connsiteY3" fmla="*/ 2174631 h 2819400"/>
                <a:gd name="connsiteX4" fmla="*/ 1746738 w 1746738"/>
                <a:gd name="connsiteY4" fmla="*/ 2819400 h 2819400"/>
                <a:gd name="connsiteX5" fmla="*/ 1336430 w 1746738"/>
                <a:gd name="connsiteY5" fmla="*/ 1811215 h 2819400"/>
                <a:gd name="connsiteX6" fmla="*/ 1506415 w 1746738"/>
                <a:gd name="connsiteY6" fmla="*/ 1535723 h 2819400"/>
                <a:gd name="connsiteX7" fmla="*/ 1383323 w 1746738"/>
                <a:gd name="connsiteY7" fmla="*/ 1236785 h 2819400"/>
                <a:gd name="connsiteX8" fmla="*/ 0 w 1746738"/>
                <a:gd name="connsiteY8" fmla="*/ 0 h 2819400"/>
                <a:gd name="connsiteX0" fmla="*/ 0 w 1720761"/>
                <a:gd name="connsiteY0" fmla="*/ 0 h 2767446"/>
                <a:gd name="connsiteX1" fmla="*/ 478115 w 1720761"/>
                <a:gd name="connsiteY1" fmla="*/ 926923 h 2767446"/>
                <a:gd name="connsiteX2" fmla="*/ 61946 w 1720761"/>
                <a:gd name="connsiteY2" fmla="*/ 979677 h 2767446"/>
                <a:gd name="connsiteX3" fmla="*/ 1251838 w 1720761"/>
                <a:gd name="connsiteY3" fmla="*/ 2122677 h 2767446"/>
                <a:gd name="connsiteX4" fmla="*/ 1720761 w 1720761"/>
                <a:gd name="connsiteY4" fmla="*/ 2767446 h 2767446"/>
                <a:gd name="connsiteX5" fmla="*/ 1310453 w 1720761"/>
                <a:gd name="connsiteY5" fmla="*/ 1759261 h 2767446"/>
                <a:gd name="connsiteX6" fmla="*/ 1480438 w 1720761"/>
                <a:gd name="connsiteY6" fmla="*/ 1483769 h 2767446"/>
                <a:gd name="connsiteX7" fmla="*/ 1357346 w 1720761"/>
                <a:gd name="connsiteY7" fmla="*/ 1184831 h 2767446"/>
                <a:gd name="connsiteX8" fmla="*/ 0 w 1720761"/>
                <a:gd name="connsiteY8" fmla="*/ 0 h 2767446"/>
                <a:gd name="connsiteX0" fmla="*/ 0 w 1710371"/>
                <a:gd name="connsiteY0" fmla="*/ 0 h 2783033"/>
                <a:gd name="connsiteX1" fmla="*/ 467725 w 1710371"/>
                <a:gd name="connsiteY1" fmla="*/ 942510 h 2783033"/>
                <a:gd name="connsiteX2" fmla="*/ 51556 w 1710371"/>
                <a:gd name="connsiteY2" fmla="*/ 995264 h 2783033"/>
                <a:gd name="connsiteX3" fmla="*/ 1241448 w 1710371"/>
                <a:gd name="connsiteY3" fmla="*/ 2138264 h 2783033"/>
                <a:gd name="connsiteX4" fmla="*/ 1710371 w 1710371"/>
                <a:gd name="connsiteY4" fmla="*/ 2783033 h 2783033"/>
                <a:gd name="connsiteX5" fmla="*/ 1300063 w 1710371"/>
                <a:gd name="connsiteY5" fmla="*/ 1774848 h 2783033"/>
                <a:gd name="connsiteX6" fmla="*/ 1470048 w 1710371"/>
                <a:gd name="connsiteY6" fmla="*/ 1499356 h 2783033"/>
                <a:gd name="connsiteX7" fmla="*/ 1346956 w 1710371"/>
                <a:gd name="connsiteY7" fmla="*/ 1200418 h 2783033"/>
                <a:gd name="connsiteX8" fmla="*/ 0 w 1710371"/>
                <a:gd name="connsiteY8" fmla="*/ 0 h 27830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710371" h="2783033">
                  <a:moveTo>
                    <a:pt x="0" y="0"/>
                  </a:moveTo>
                  <a:lnTo>
                    <a:pt x="467725" y="942510"/>
                  </a:lnTo>
                  <a:lnTo>
                    <a:pt x="51556" y="995264"/>
                  </a:lnTo>
                  <a:lnTo>
                    <a:pt x="1241448" y="2138264"/>
                  </a:lnTo>
                  <a:lnTo>
                    <a:pt x="1710371" y="2783033"/>
                  </a:lnTo>
                  <a:lnTo>
                    <a:pt x="1300063" y="1774848"/>
                  </a:lnTo>
                  <a:lnTo>
                    <a:pt x="1470048" y="1499356"/>
                  </a:lnTo>
                  <a:lnTo>
                    <a:pt x="1346956" y="120041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solidFill>
                <a:schemeClr val="accent1">
                  <a:lumMod val="75000"/>
                </a:schemeClr>
              </a:solidFill>
              <a:beve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8" name="Полилиния 17">
              <a:extLst>
                <a:ext uri="{FF2B5EF4-FFF2-40B4-BE49-F238E27FC236}">
                  <a16:creationId xmlns:a16="http://schemas.microsoft.com/office/drawing/2014/main" id="{9A001011-D375-8840-8EBF-070E544C735C}"/>
                </a:ext>
              </a:extLst>
            </p:cNvPr>
            <p:cNvSpPr/>
            <p:nvPr/>
          </p:nvSpPr>
          <p:spPr>
            <a:xfrm>
              <a:off x="10756900" y="4172978"/>
              <a:ext cx="1438174" cy="2692776"/>
            </a:xfrm>
            <a:custGeom>
              <a:avLst/>
              <a:gdLst>
                <a:gd name="connsiteX0" fmla="*/ 266700 w 1447800"/>
                <a:gd name="connsiteY0" fmla="*/ 0 h 2730500"/>
                <a:gd name="connsiteX1" fmla="*/ 317500 w 1447800"/>
                <a:gd name="connsiteY1" fmla="*/ 698500 h 2730500"/>
                <a:gd name="connsiteX2" fmla="*/ 0 w 1447800"/>
                <a:gd name="connsiteY2" fmla="*/ 749300 h 2730500"/>
                <a:gd name="connsiteX3" fmla="*/ 508000 w 1447800"/>
                <a:gd name="connsiteY3" fmla="*/ 1892300 h 2730500"/>
                <a:gd name="connsiteX4" fmla="*/ 1295400 w 1447800"/>
                <a:gd name="connsiteY4" fmla="*/ 2463800 h 2730500"/>
                <a:gd name="connsiteX5" fmla="*/ 1447800 w 1447800"/>
                <a:gd name="connsiteY5" fmla="*/ 2730500 h 2730500"/>
                <a:gd name="connsiteX6" fmla="*/ 1384300 w 1447800"/>
                <a:gd name="connsiteY6" fmla="*/ 2222500 h 2730500"/>
                <a:gd name="connsiteX7" fmla="*/ 1066800 w 1447800"/>
                <a:gd name="connsiteY7" fmla="*/ 1803400 h 2730500"/>
                <a:gd name="connsiteX8" fmla="*/ 1295400 w 1447800"/>
                <a:gd name="connsiteY8" fmla="*/ 1473200 h 2730500"/>
                <a:gd name="connsiteX9" fmla="*/ 1206500 w 1447800"/>
                <a:gd name="connsiteY9" fmla="*/ 609600 h 2730500"/>
                <a:gd name="connsiteX10" fmla="*/ 266700 w 1447800"/>
                <a:gd name="connsiteY10" fmla="*/ 0 h 2730500"/>
                <a:gd name="connsiteX0" fmla="*/ 307521 w 1447800"/>
                <a:gd name="connsiteY0" fmla="*/ 0 h 2722336"/>
                <a:gd name="connsiteX1" fmla="*/ 317500 w 1447800"/>
                <a:gd name="connsiteY1" fmla="*/ 690336 h 2722336"/>
                <a:gd name="connsiteX2" fmla="*/ 0 w 1447800"/>
                <a:gd name="connsiteY2" fmla="*/ 741136 h 2722336"/>
                <a:gd name="connsiteX3" fmla="*/ 508000 w 1447800"/>
                <a:gd name="connsiteY3" fmla="*/ 1884136 h 2722336"/>
                <a:gd name="connsiteX4" fmla="*/ 1295400 w 1447800"/>
                <a:gd name="connsiteY4" fmla="*/ 2455636 h 2722336"/>
                <a:gd name="connsiteX5" fmla="*/ 1447800 w 1447800"/>
                <a:gd name="connsiteY5" fmla="*/ 2722336 h 2722336"/>
                <a:gd name="connsiteX6" fmla="*/ 1384300 w 1447800"/>
                <a:gd name="connsiteY6" fmla="*/ 2214336 h 2722336"/>
                <a:gd name="connsiteX7" fmla="*/ 1066800 w 1447800"/>
                <a:gd name="connsiteY7" fmla="*/ 1795236 h 2722336"/>
                <a:gd name="connsiteX8" fmla="*/ 1295400 w 1447800"/>
                <a:gd name="connsiteY8" fmla="*/ 1465036 h 2722336"/>
                <a:gd name="connsiteX9" fmla="*/ 1206500 w 1447800"/>
                <a:gd name="connsiteY9" fmla="*/ 601436 h 2722336"/>
                <a:gd name="connsiteX10" fmla="*/ 307521 w 1447800"/>
                <a:gd name="connsiteY10" fmla="*/ 0 h 2722336"/>
                <a:gd name="connsiteX0" fmla="*/ 288954 w 1447800"/>
                <a:gd name="connsiteY0" fmla="*/ 0 h 2740902"/>
                <a:gd name="connsiteX1" fmla="*/ 317500 w 1447800"/>
                <a:gd name="connsiteY1" fmla="*/ 708902 h 2740902"/>
                <a:gd name="connsiteX2" fmla="*/ 0 w 1447800"/>
                <a:gd name="connsiteY2" fmla="*/ 759702 h 2740902"/>
                <a:gd name="connsiteX3" fmla="*/ 508000 w 1447800"/>
                <a:gd name="connsiteY3" fmla="*/ 1902702 h 2740902"/>
                <a:gd name="connsiteX4" fmla="*/ 1295400 w 1447800"/>
                <a:gd name="connsiteY4" fmla="*/ 2474202 h 2740902"/>
                <a:gd name="connsiteX5" fmla="*/ 1447800 w 1447800"/>
                <a:gd name="connsiteY5" fmla="*/ 2740902 h 2740902"/>
                <a:gd name="connsiteX6" fmla="*/ 1384300 w 1447800"/>
                <a:gd name="connsiteY6" fmla="*/ 2232902 h 2740902"/>
                <a:gd name="connsiteX7" fmla="*/ 1066800 w 1447800"/>
                <a:gd name="connsiteY7" fmla="*/ 1813802 h 2740902"/>
                <a:gd name="connsiteX8" fmla="*/ 1295400 w 1447800"/>
                <a:gd name="connsiteY8" fmla="*/ 1483602 h 2740902"/>
                <a:gd name="connsiteX9" fmla="*/ 1206500 w 1447800"/>
                <a:gd name="connsiteY9" fmla="*/ 620002 h 2740902"/>
                <a:gd name="connsiteX10" fmla="*/ 288954 w 1447800"/>
                <a:gd name="connsiteY10" fmla="*/ 0 h 2740902"/>
                <a:gd name="connsiteX0" fmla="*/ 288954 w 1438174"/>
                <a:gd name="connsiteY0" fmla="*/ 0 h 2692776"/>
                <a:gd name="connsiteX1" fmla="*/ 317500 w 1438174"/>
                <a:gd name="connsiteY1" fmla="*/ 708902 h 2692776"/>
                <a:gd name="connsiteX2" fmla="*/ 0 w 1438174"/>
                <a:gd name="connsiteY2" fmla="*/ 759702 h 2692776"/>
                <a:gd name="connsiteX3" fmla="*/ 508000 w 1438174"/>
                <a:gd name="connsiteY3" fmla="*/ 1902702 h 2692776"/>
                <a:gd name="connsiteX4" fmla="*/ 1295400 w 1438174"/>
                <a:gd name="connsiteY4" fmla="*/ 2474202 h 2692776"/>
                <a:gd name="connsiteX5" fmla="*/ 1438174 w 1438174"/>
                <a:gd name="connsiteY5" fmla="*/ 2692776 h 2692776"/>
                <a:gd name="connsiteX6" fmla="*/ 1384300 w 1438174"/>
                <a:gd name="connsiteY6" fmla="*/ 2232902 h 2692776"/>
                <a:gd name="connsiteX7" fmla="*/ 1066800 w 1438174"/>
                <a:gd name="connsiteY7" fmla="*/ 1813802 h 2692776"/>
                <a:gd name="connsiteX8" fmla="*/ 1295400 w 1438174"/>
                <a:gd name="connsiteY8" fmla="*/ 1483602 h 2692776"/>
                <a:gd name="connsiteX9" fmla="*/ 1206500 w 1438174"/>
                <a:gd name="connsiteY9" fmla="*/ 620002 h 2692776"/>
                <a:gd name="connsiteX10" fmla="*/ 288954 w 1438174"/>
                <a:gd name="connsiteY10" fmla="*/ 0 h 26927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438174" h="2692776">
                  <a:moveTo>
                    <a:pt x="288954" y="0"/>
                  </a:moveTo>
                  <a:lnTo>
                    <a:pt x="317500" y="708902"/>
                  </a:lnTo>
                  <a:lnTo>
                    <a:pt x="0" y="759702"/>
                  </a:lnTo>
                  <a:lnTo>
                    <a:pt x="508000" y="1902702"/>
                  </a:lnTo>
                  <a:lnTo>
                    <a:pt x="1295400" y="2474202"/>
                  </a:lnTo>
                  <a:lnTo>
                    <a:pt x="1438174" y="2692776"/>
                  </a:lnTo>
                  <a:lnTo>
                    <a:pt x="1384300" y="2232902"/>
                  </a:lnTo>
                  <a:lnTo>
                    <a:pt x="1066800" y="1813802"/>
                  </a:lnTo>
                  <a:lnTo>
                    <a:pt x="1295400" y="1483602"/>
                  </a:lnTo>
                  <a:lnTo>
                    <a:pt x="1206500" y="620002"/>
                  </a:lnTo>
                  <a:lnTo>
                    <a:pt x="288954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олилиния 18">
              <a:extLst>
                <a:ext uri="{FF2B5EF4-FFF2-40B4-BE49-F238E27FC236}">
                  <a16:creationId xmlns:a16="http://schemas.microsoft.com/office/drawing/2014/main" id="{2224E1A4-8603-F943-B388-2DE862A3E01D}"/>
                </a:ext>
              </a:extLst>
            </p:cNvPr>
            <p:cNvSpPr/>
            <p:nvPr/>
          </p:nvSpPr>
          <p:spPr>
            <a:xfrm>
              <a:off x="2743200" y="3521036"/>
              <a:ext cx="5432219" cy="3379829"/>
            </a:xfrm>
            <a:custGeom>
              <a:avLst/>
              <a:gdLst>
                <a:gd name="connsiteX0" fmla="*/ 0 w 6572250"/>
                <a:gd name="connsiteY0" fmla="*/ 4614863 h 4614863"/>
                <a:gd name="connsiteX1" fmla="*/ 1600200 w 6572250"/>
                <a:gd name="connsiteY1" fmla="*/ 3200400 h 4614863"/>
                <a:gd name="connsiteX2" fmla="*/ 2171700 w 6572250"/>
                <a:gd name="connsiteY2" fmla="*/ 3486150 h 4614863"/>
                <a:gd name="connsiteX3" fmla="*/ 3686175 w 6572250"/>
                <a:gd name="connsiteY3" fmla="*/ 1785938 h 4614863"/>
                <a:gd name="connsiteX4" fmla="*/ 4357688 w 6572250"/>
                <a:gd name="connsiteY4" fmla="*/ 2400300 h 4614863"/>
                <a:gd name="connsiteX5" fmla="*/ 6572250 w 6572250"/>
                <a:gd name="connsiteY5" fmla="*/ 0 h 4614863"/>
                <a:gd name="connsiteX0" fmla="*/ 0 w 5432219"/>
                <a:gd name="connsiteY0" fmla="*/ 3379829 h 3379829"/>
                <a:gd name="connsiteX1" fmla="*/ 1600200 w 5432219"/>
                <a:gd name="connsiteY1" fmla="*/ 1965366 h 3379829"/>
                <a:gd name="connsiteX2" fmla="*/ 2171700 w 5432219"/>
                <a:gd name="connsiteY2" fmla="*/ 2251116 h 3379829"/>
                <a:gd name="connsiteX3" fmla="*/ 3686175 w 5432219"/>
                <a:gd name="connsiteY3" fmla="*/ 550904 h 3379829"/>
                <a:gd name="connsiteX4" fmla="*/ 4357688 w 5432219"/>
                <a:gd name="connsiteY4" fmla="*/ 1165266 h 3379829"/>
                <a:gd name="connsiteX5" fmla="*/ 5432219 w 5432219"/>
                <a:gd name="connsiteY5" fmla="*/ 0 h 337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432219" h="3379829">
                  <a:moveTo>
                    <a:pt x="0" y="3379829"/>
                  </a:moveTo>
                  <a:lnTo>
                    <a:pt x="1600200" y="1965366"/>
                  </a:lnTo>
                  <a:lnTo>
                    <a:pt x="2171700" y="2251116"/>
                  </a:lnTo>
                  <a:lnTo>
                    <a:pt x="3686175" y="550904"/>
                  </a:lnTo>
                  <a:lnTo>
                    <a:pt x="4357688" y="1165266"/>
                  </a:lnTo>
                  <a:lnTo>
                    <a:pt x="5432219" y="0"/>
                  </a:lnTo>
                </a:path>
              </a:pathLst>
            </a:custGeom>
            <a:noFill/>
            <a:ln w="69850">
              <a:solidFill>
                <a:schemeClr val="bg2"/>
              </a:solidFill>
              <a:tailEnd type="arrow" w="lg" len="lg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23" name="Текст 2">
            <a:extLst>
              <a:ext uri="{FF2B5EF4-FFF2-40B4-BE49-F238E27FC236}">
                <a16:creationId xmlns:a16="http://schemas.microsoft.com/office/drawing/2014/main" id="{56E9E17D-8AC1-D849-BA48-B5BEDC5117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8" name="Прямая соединительная линия 27">
            <a:extLst>
              <a:ext uri="{FF2B5EF4-FFF2-40B4-BE49-F238E27FC236}">
                <a16:creationId xmlns:a16="http://schemas.microsoft.com/office/drawing/2014/main" id="{4AADF3D3-AFBC-6841-9B45-A7155C9C7F3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F01C1EB4-C198-0746-96DB-5A1EAFFC2DD1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21" name="Нижний колонтитул 3">
            <a:extLst>
              <a:ext uri="{FF2B5EF4-FFF2-40B4-BE49-F238E27FC236}">
                <a16:creationId xmlns:a16="http://schemas.microsoft.com/office/drawing/2014/main" id="{602DFBC8-D0A1-8A45-8E2E-A3F064694E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3855" y="6356349"/>
            <a:ext cx="338583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600">
                <a:solidFill>
                  <a:schemeClr val="bg1"/>
                </a:solidFill>
              </a:defRPr>
            </a:lvl1pPr>
          </a:lstStyle>
          <a:p>
            <a:r>
              <a:rPr lang="ru-RU"/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13439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ар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AE898A1B-0441-FF49-BF91-E55F48CBB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787011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0E299884-2EFC-A04C-81A3-D7BA8D9E87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9072000" cy="685801"/>
          </a:xfr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07577FD2-1CD8-1447-9579-76531311060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cxnSp>
        <p:nvCxnSpPr>
          <p:cNvPr id="4" name="Прямая соединительная линия 3">
            <a:extLst>
              <a:ext uri="{FF2B5EF4-FFF2-40B4-BE49-F238E27FC236}">
                <a16:creationId xmlns:a16="http://schemas.microsoft.com/office/drawing/2014/main" id="{B1D2930A-E7E2-8F4B-BF00-D261DFFCEF5C}"/>
              </a:ext>
            </a:extLst>
          </p:cNvPr>
          <p:cNvCxnSpPr>
            <a:cxnSpLocks/>
          </p:cNvCxnSpPr>
          <p:nvPr userDrawn="1"/>
        </p:nvCxnSpPr>
        <p:spPr>
          <a:xfrm>
            <a:off x="662294" y="0"/>
            <a:ext cx="0" cy="99556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E823468D-8EE1-1043-8933-8DFE1FA7BD1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668084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">
    <p:bg>
      <p:bgPr>
        <a:gradFill>
          <a:gsLst>
            <a:gs pos="100000">
              <a:schemeClr val="accent1"/>
            </a:gs>
            <a:gs pos="0">
              <a:schemeClr val="accent3"/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B11F5C4-C9AA-4A48-8171-7867F8EF81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013423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2" name="Объект 1" hidden="1">
                        <a:extLst>
                          <a:ext uri="{FF2B5EF4-FFF2-40B4-BE49-F238E27FC236}">
                            <a16:creationId xmlns:a16="http://schemas.microsoft.com/office/drawing/2014/main" id="{2B11F5C4-C9AA-4A48-8171-7867F8EF81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4">
            <a:extLst>
              <a:ext uri="{FF2B5EF4-FFF2-40B4-BE49-F238E27FC236}">
                <a16:creationId xmlns:a16="http://schemas.microsoft.com/office/drawing/2014/main" id="{708B971F-3431-8343-970C-119F9B8E97A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8515" y="1742133"/>
            <a:ext cx="5277485" cy="3719461"/>
          </a:xfrm>
        </p:spPr>
        <p:txBody>
          <a:bodyPr lIns="0" tIns="0" rIns="0" bIns="0">
            <a:noAutofit/>
          </a:bodyPr>
          <a:lstStyle>
            <a:lvl1pPr marL="0" indent="0">
              <a:buFontTx/>
              <a:buNone/>
              <a:defRPr sz="28000" b="1">
                <a:solidFill>
                  <a:schemeClr val="accent1">
                    <a:alpha val="3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/>
              <a:t>№</a:t>
            </a:r>
          </a:p>
        </p:txBody>
      </p:sp>
      <p:sp>
        <p:nvSpPr>
          <p:cNvPr id="12" name="Заголовок 16">
            <a:extLst>
              <a:ext uri="{FF2B5EF4-FFF2-40B4-BE49-F238E27FC236}">
                <a16:creationId xmlns:a16="http://schemas.microsoft.com/office/drawing/2014/main" id="{613E94BC-CCEB-784A-9FA5-B53A8B79B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8514" y="4345936"/>
            <a:ext cx="7269418" cy="1263213"/>
          </a:xfrm>
        </p:spPr>
        <p:txBody>
          <a:bodyPr vert="horz" lIns="0" tIns="0" rIns="0" bIns="0" anchor="t">
            <a:normAutofit/>
          </a:bodyPr>
          <a:lstStyle>
            <a:lvl1pPr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 </a:t>
            </a:r>
            <a:br>
              <a:rPr lang="ru-RU" dirty="0"/>
            </a:br>
            <a:r>
              <a:rPr lang="ru-RU" dirty="0"/>
              <a:t>в две строки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571E0D75-1C9A-D94E-8A7E-42607AF206F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818515" y="602916"/>
            <a:ext cx="1433478" cy="478065"/>
          </a:xfrm>
          <a:prstGeom prst="rect">
            <a:avLst/>
          </a:prstGeom>
        </p:spPr>
      </p:pic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C7EEA3C-D68A-5A41-9D32-181E2305EDAA}"/>
              </a:ext>
            </a:extLst>
          </p:cNvPr>
          <p:cNvGrpSpPr/>
          <p:nvPr userDrawn="1"/>
        </p:nvGrpSpPr>
        <p:grpSpPr>
          <a:xfrm>
            <a:off x="227165" y="4390517"/>
            <a:ext cx="361110" cy="371578"/>
            <a:chOff x="383279" y="3833472"/>
            <a:chExt cx="361110" cy="371578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2FBFD15A-7232-634E-B5E0-140D0D8906EC}"/>
                </a:ext>
              </a:extLst>
            </p:cNvPr>
            <p:cNvSpPr/>
            <p:nvPr/>
          </p:nvSpPr>
          <p:spPr>
            <a:xfrm>
              <a:off x="564906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22DEB5DA-DC02-B243-96C3-83890778DED2}"/>
                </a:ext>
              </a:extLst>
            </p:cNvPr>
            <p:cNvSpPr/>
            <p:nvPr/>
          </p:nvSpPr>
          <p:spPr>
            <a:xfrm>
              <a:off x="383279" y="3833472"/>
              <a:ext cx="179483" cy="371578"/>
            </a:xfrm>
            <a:prstGeom prst="chevr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3378831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Мастер-слайд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F31A9401-66B5-EB45-B593-DBE86B2D64EB}"/>
              </a:ext>
            </a:extLst>
          </p:cNvPr>
          <p:cNvGrpSpPr/>
          <p:nvPr userDrawn="1"/>
        </p:nvGrpSpPr>
        <p:grpSpPr>
          <a:xfrm>
            <a:off x="3649466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4" name="Полилиния 13">
            <a:extLst>
              <a:ext uri="{FF2B5EF4-FFF2-40B4-BE49-F238E27FC236}">
                <a16:creationId xmlns:a16="http://schemas.microsoft.com/office/drawing/2014/main" id="{96EE0B24-B8A3-0548-8081-25AD766E440C}"/>
              </a:ext>
            </a:extLst>
          </p:cNvPr>
          <p:cNvSpPr/>
          <p:nvPr userDrawn="1"/>
        </p:nvSpPr>
        <p:spPr>
          <a:xfrm>
            <a:off x="3867461" y="0"/>
            <a:ext cx="8324539" cy="6858000"/>
          </a:xfrm>
          <a:custGeom>
            <a:avLst/>
            <a:gdLst>
              <a:gd name="connsiteX0" fmla="*/ 0 w 8399490"/>
              <a:gd name="connsiteY0" fmla="*/ 0 h 6858000"/>
              <a:gd name="connsiteX1" fmla="*/ 1312888 w 8399490"/>
              <a:gd name="connsiteY1" fmla="*/ 0 h 6858000"/>
              <a:gd name="connsiteX2" fmla="*/ 7104699 w 8399490"/>
              <a:gd name="connsiteY2" fmla="*/ 0 h 6858000"/>
              <a:gd name="connsiteX3" fmla="*/ 8399490 w 8399490"/>
              <a:gd name="connsiteY3" fmla="*/ 0 h 6858000"/>
              <a:gd name="connsiteX4" fmla="*/ 8399490 w 8399490"/>
              <a:gd name="connsiteY4" fmla="*/ 6858000 h 6858000"/>
              <a:gd name="connsiteX5" fmla="*/ 8399489 w 8399490"/>
              <a:gd name="connsiteY5" fmla="*/ 6858000 h 6858000"/>
              <a:gd name="connsiteX6" fmla="*/ 1312888 w 8399490"/>
              <a:gd name="connsiteY6" fmla="*/ 6858000 h 6858000"/>
              <a:gd name="connsiteX7" fmla="*/ 1294790 w 839949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399490" h="6858000">
                <a:moveTo>
                  <a:pt x="0" y="0"/>
                </a:moveTo>
                <a:lnTo>
                  <a:pt x="1312888" y="0"/>
                </a:lnTo>
                <a:lnTo>
                  <a:pt x="7104699" y="0"/>
                </a:lnTo>
                <a:lnTo>
                  <a:pt x="8399490" y="0"/>
                </a:lnTo>
                <a:lnTo>
                  <a:pt x="8399490" y="6858000"/>
                </a:lnTo>
                <a:lnTo>
                  <a:pt x="8399489" y="6858000"/>
                </a:lnTo>
                <a:lnTo>
                  <a:pt x="1312888" y="6858000"/>
                </a:lnTo>
                <a:lnTo>
                  <a:pt x="1294790" y="685800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A00ABCF-18D8-254B-AC4C-99D8CDF105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9" name="Заголовок 16">
            <a:extLst>
              <a:ext uri="{FF2B5EF4-FFF2-40B4-BE49-F238E27FC236}">
                <a16:creationId xmlns:a16="http://schemas.microsoft.com/office/drawing/2014/main" id="{3EEE93BC-CD08-2648-BE48-3A94C5FB22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2630329" cy="685801"/>
          </a:xfrm>
          <a:prstGeom prst="rect">
            <a:avLst/>
          </a:prstGeom>
        </p:spPr>
        <p:txBody>
          <a:bodyPr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CCAE0602-262B-D54C-94FA-626681E0F98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383362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12EEA68E-259E-8848-A125-3FDD14CF9C9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3B708B7C-9105-8543-AF84-878A41AF28AB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ABC575B7-F548-3C4D-AFF8-EA16D7A25BE1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tx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0907391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2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D93B0A69-B7D5-5A48-ADC3-AB1A9D78FC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04729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5330559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7987E582-CD0D-4546-B723-8831CB5C99C4}"/>
              </a:ext>
            </a:extLst>
          </p:cNvPr>
          <p:cNvSpPr/>
          <p:nvPr userDrawn="1"/>
        </p:nvSpPr>
        <p:spPr>
          <a:xfrm>
            <a:off x="5546360" y="0"/>
            <a:ext cx="6645640" cy="6858000"/>
          </a:xfrm>
          <a:custGeom>
            <a:avLst/>
            <a:gdLst>
              <a:gd name="connsiteX0" fmla="*/ 0 w 6645640"/>
              <a:gd name="connsiteY0" fmla="*/ 0 h 6858000"/>
              <a:gd name="connsiteX1" fmla="*/ 1315082 w 6645640"/>
              <a:gd name="connsiteY1" fmla="*/ 0 h 6858000"/>
              <a:gd name="connsiteX2" fmla="*/ 5292944 w 6645640"/>
              <a:gd name="connsiteY2" fmla="*/ 0 h 6858000"/>
              <a:gd name="connsiteX3" fmla="*/ 6645640 w 6645640"/>
              <a:gd name="connsiteY3" fmla="*/ 0 h 6858000"/>
              <a:gd name="connsiteX4" fmla="*/ 6645640 w 6645640"/>
              <a:gd name="connsiteY4" fmla="*/ 6858000 h 6858000"/>
              <a:gd name="connsiteX5" fmla="*/ 6600669 w 6645640"/>
              <a:gd name="connsiteY5" fmla="*/ 6858000 h 6858000"/>
              <a:gd name="connsiteX6" fmla="*/ 1315082 w 6645640"/>
              <a:gd name="connsiteY6" fmla="*/ 6858000 h 6858000"/>
              <a:gd name="connsiteX7" fmla="*/ 1307725 w 664564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645640" h="6858000">
                <a:moveTo>
                  <a:pt x="0" y="0"/>
                </a:moveTo>
                <a:lnTo>
                  <a:pt x="1315082" y="0"/>
                </a:lnTo>
                <a:lnTo>
                  <a:pt x="5292944" y="0"/>
                </a:lnTo>
                <a:lnTo>
                  <a:pt x="6645640" y="0"/>
                </a:lnTo>
                <a:lnTo>
                  <a:pt x="6645640" y="6858000"/>
                </a:lnTo>
                <a:lnTo>
                  <a:pt x="6600669" y="6858000"/>
                </a:lnTo>
                <a:lnTo>
                  <a:pt x="1315082" y="6858000"/>
                </a:lnTo>
                <a:lnTo>
                  <a:pt x="1307725" y="685800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8779D95-B861-1543-B81B-A8E80358A349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6" name="Заголовок 16">
            <a:extLst>
              <a:ext uri="{FF2B5EF4-FFF2-40B4-BE49-F238E27FC236}">
                <a16:creationId xmlns:a16="http://schemas.microsoft.com/office/drawing/2014/main" id="{AB1AEA3B-AC4B-E140-9340-6B454EBD06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7" y="402822"/>
            <a:ext cx="4414972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25578347-EE4A-9C43-90AD-D7FA8D7FEDF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5279473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78040010-421A-6B44-97A4-119E862C416B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B3FAD98-8606-774A-A4A8-3920B0033A14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EFB1FC0-4632-CE42-883F-35F2AF32BA5A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9791814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B10BD2F5-DFF1-F341-88B5-9F4DB6B58E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9725827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22F8ADA-2B0C-1C4C-9161-28646326D5B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0D0FF622-0622-C34A-80BB-EF8A7970B4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3" name="Текст 2">
            <a:extLst>
              <a:ext uri="{FF2B5EF4-FFF2-40B4-BE49-F238E27FC236}">
                <a16:creationId xmlns:a16="http://schemas.microsoft.com/office/drawing/2014/main" id="{5BBE7582-2D3B-AE4F-B4B8-924A7A1851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BDE6E614-9769-B047-B502-A37F9A43E332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B3F9E8E8-0001-B143-8B76-58D480FDF88A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78050CC4-9818-2B4B-9B29-EB72E82CD3D9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10536751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 1/3 заливки градиен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2FEFCD2D-F76E-834A-A99F-E36DD0B63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99950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Полилиния 15">
            <a:extLst>
              <a:ext uri="{FF2B5EF4-FFF2-40B4-BE49-F238E27FC236}">
                <a16:creationId xmlns:a16="http://schemas.microsoft.com/office/drawing/2014/main" id="{12528276-D9FD-794D-8243-88ED659A47E0}"/>
              </a:ext>
            </a:extLst>
          </p:cNvPr>
          <p:cNvSpPr/>
          <p:nvPr userDrawn="1"/>
        </p:nvSpPr>
        <p:spPr>
          <a:xfrm>
            <a:off x="7291725" y="0"/>
            <a:ext cx="4900275" cy="6858000"/>
          </a:xfrm>
          <a:custGeom>
            <a:avLst/>
            <a:gdLst>
              <a:gd name="connsiteX0" fmla="*/ 0 w 4900275"/>
              <a:gd name="connsiteY0" fmla="*/ 0 h 6858000"/>
              <a:gd name="connsiteX1" fmla="*/ 1315082 w 4900275"/>
              <a:gd name="connsiteY1" fmla="*/ 0 h 6858000"/>
              <a:gd name="connsiteX2" fmla="*/ 4900275 w 4900275"/>
              <a:gd name="connsiteY2" fmla="*/ 0 h 6858000"/>
              <a:gd name="connsiteX3" fmla="*/ 4900275 w 4900275"/>
              <a:gd name="connsiteY3" fmla="*/ 6858000 h 6858000"/>
              <a:gd name="connsiteX4" fmla="*/ 1315082 w 4900275"/>
              <a:gd name="connsiteY4" fmla="*/ 6858000 h 6858000"/>
              <a:gd name="connsiteX5" fmla="*/ 1307725 w 4900275"/>
              <a:gd name="connsiteY5" fmla="*/ 6858000 h 6858000"/>
              <a:gd name="connsiteX6" fmla="*/ 0 w 4900275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00275" h="6858000">
                <a:moveTo>
                  <a:pt x="0" y="0"/>
                </a:moveTo>
                <a:lnTo>
                  <a:pt x="1315082" y="0"/>
                </a:lnTo>
                <a:lnTo>
                  <a:pt x="4900275" y="0"/>
                </a:lnTo>
                <a:lnTo>
                  <a:pt x="4900275" y="6858000"/>
                </a:lnTo>
                <a:lnTo>
                  <a:pt x="1315082" y="6858000"/>
                </a:lnTo>
                <a:lnTo>
                  <a:pt x="1307725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3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1B25FCF0-2689-E740-92E7-6F6AA6DD9764}"/>
              </a:ext>
            </a:extLst>
          </p:cNvPr>
          <p:cNvGrpSpPr/>
          <p:nvPr userDrawn="1"/>
        </p:nvGrpSpPr>
        <p:grpSpPr>
          <a:xfrm>
            <a:off x="7069412" y="0"/>
            <a:ext cx="1530883" cy="6858000"/>
            <a:chOff x="3649466" y="0"/>
            <a:chExt cx="1530883" cy="6858000"/>
          </a:xfrm>
        </p:grpSpPr>
        <p:sp>
          <p:nvSpPr>
            <p:cNvPr id="10" name="Параллелограмм 9">
              <a:extLst>
                <a:ext uri="{FF2B5EF4-FFF2-40B4-BE49-F238E27FC236}">
                  <a16:creationId xmlns:a16="http://schemas.microsoft.com/office/drawing/2014/main" id="{42F2280B-3D11-8842-9510-B508563D75A7}"/>
                </a:ext>
              </a:extLst>
            </p:cNvPr>
            <p:cNvSpPr/>
            <p:nvPr userDrawn="1"/>
          </p:nvSpPr>
          <p:spPr>
            <a:xfrm flipH="1">
              <a:off x="364946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1" name="Параллелограмм 10">
              <a:extLst>
                <a:ext uri="{FF2B5EF4-FFF2-40B4-BE49-F238E27FC236}">
                  <a16:creationId xmlns:a16="http://schemas.microsoft.com/office/drawing/2014/main" id="{B769449B-14B1-384B-9171-2189627995C8}"/>
                </a:ext>
              </a:extLst>
            </p:cNvPr>
            <p:cNvSpPr/>
            <p:nvPr userDrawn="1"/>
          </p:nvSpPr>
          <p:spPr>
            <a:xfrm flipH="1">
              <a:off x="3756146" y="0"/>
              <a:ext cx="1424203" cy="6858000"/>
            </a:xfrm>
            <a:prstGeom prst="parallelogram">
              <a:avLst>
                <a:gd name="adj" fmla="val 91862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7C9A01AC-E969-0844-9499-42C4193DE994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5" name="Заголовок 16">
            <a:extLst>
              <a:ext uri="{FF2B5EF4-FFF2-40B4-BE49-F238E27FC236}">
                <a16:creationId xmlns:a16="http://schemas.microsoft.com/office/drawing/2014/main" id="{4035D7B3-4854-5943-9D99-7DC8694E7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6153825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833A1594-EA2F-AF4C-A860-A78F7DBA415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6575811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67E09A19-A0FF-3D48-BCF1-47225CD7CB26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6E705500-A378-A74D-8862-0093F4107710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DE358150-9FBD-C74B-8887-FFB860C2E3BC}"/>
              </a:ext>
            </a:extLst>
          </p:cNvPr>
          <p:cNvSpPr/>
          <p:nvPr userDrawn="1"/>
        </p:nvSpPr>
        <p:spPr>
          <a:xfrm>
            <a:off x="8674440" y="6403462"/>
            <a:ext cx="2362031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38321031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залив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ED53ADF0-C1DC-8E47-A4C4-7F636F65AE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317848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Полилиния 12">
            <a:extLst>
              <a:ext uri="{FF2B5EF4-FFF2-40B4-BE49-F238E27FC236}">
                <a16:creationId xmlns:a16="http://schemas.microsoft.com/office/drawing/2014/main" id="{38DBFD21-2ABB-7742-A243-91032BE024AF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38955"/>
                </a:lnTo>
                <a:lnTo>
                  <a:pt x="0" y="9085006"/>
                </a:lnTo>
                <a:close/>
              </a:path>
            </a:pathLst>
          </a:custGeom>
          <a:solidFill>
            <a:schemeClr val="tx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24F3D68-6BA1-3C4E-B14B-2DD63721CC9D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5" name="Нашивка 14">
              <a:extLst>
                <a:ext uri="{FF2B5EF4-FFF2-40B4-BE49-F238E27FC236}">
                  <a16:creationId xmlns:a16="http://schemas.microsoft.com/office/drawing/2014/main" id="{808772EC-E4D1-1547-ADF5-594B1C5CB222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C29642E3-0970-7C4E-B9EE-C3273F54635C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614FCD43-419A-B847-B117-C99536C7969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18897" y="388520"/>
            <a:ext cx="1065725" cy="355419"/>
          </a:xfrm>
          <a:prstGeom prst="rect">
            <a:avLst/>
          </a:prstGeom>
        </p:spPr>
      </p:pic>
      <p:sp>
        <p:nvSpPr>
          <p:cNvPr id="17" name="Заголовок 16">
            <a:extLst>
              <a:ext uri="{FF2B5EF4-FFF2-40B4-BE49-F238E27FC236}">
                <a16:creationId xmlns:a16="http://schemas.microsoft.com/office/drawing/2014/main" id="{4E21FC6F-C1D8-BF4D-97D3-976B84D8ED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id="{85172B85-A0CD-B24A-BCAB-B123A1C8D0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AA9D97E-1EC3-F048-9CFD-F35F05BBC11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C7E800E7-478C-864A-B25F-4096900EE66F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2"/>
                </a:solidFill>
              </a:rPr>
              <a:pPr algn="l"/>
              <a:t>‹#›</a:t>
            </a:fld>
            <a:endParaRPr lang="ru-RU" sz="1000" dirty="0">
              <a:solidFill>
                <a:schemeClr val="bg2"/>
              </a:solidFill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79BC661-EAD1-CC4D-A34C-194D61B0BA83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3020400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Мастер-слайд: стрелка и 2/3 градиент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>
            <a:extLst>
              <a:ext uri="{FF2B5EF4-FFF2-40B4-BE49-F238E27FC236}">
                <a16:creationId xmlns:a16="http://schemas.microsoft.com/office/drawing/2014/main" id="{B61F4C62-7735-054B-B3F9-972F97076C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644073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Полилиния 24">
            <a:extLst>
              <a:ext uri="{FF2B5EF4-FFF2-40B4-BE49-F238E27FC236}">
                <a16:creationId xmlns:a16="http://schemas.microsoft.com/office/drawing/2014/main" id="{0CB11AFE-9411-2044-8A46-6AC5FEF2BEAC}"/>
              </a:ext>
            </a:extLst>
          </p:cNvPr>
          <p:cNvSpPr/>
          <p:nvPr userDrawn="1"/>
        </p:nvSpPr>
        <p:spPr>
          <a:xfrm rot="5400000">
            <a:off x="4208248" y="-1101253"/>
            <a:ext cx="6882498" cy="9085006"/>
          </a:xfrm>
          <a:custGeom>
            <a:avLst/>
            <a:gdLst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75352 w 6858000"/>
              <a:gd name="connsiteY4" fmla="*/ 794446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14392 w 6858000"/>
              <a:gd name="connsiteY4" fmla="*/ 7913984 h 9085006"/>
              <a:gd name="connsiteX5" fmla="*/ 0 w 6858000"/>
              <a:gd name="connsiteY5" fmla="*/ 9085006 h 9085006"/>
              <a:gd name="connsiteX0" fmla="*/ 0 w 6858000"/>
              <a:gd name="connsiteY0" fmla="*/ 9085006 h 9085006"/>
              <a:gd name="connsiteX1" fmla="*/ 0 w 6858000"/>
              <a:gd name="connsiteY1" fmla="*/ 0 h 9085006"/>
              <a:gd name="connsiteX2" fmla="*/ 6858000 w 6858000"/>
              <a:gd name="connsiteY2" fmla="*/ 0 h 9085006"/>
              <a:gd name="connsiteX3" fmla="*/ 6858000 w 6858000"/>
              <a:gd name="connsiteY3" fmla="*/ 9054583 h 9085006"/>
              <a:gd name="connsiteX4" fmla="*/ 3428906 w 6858000"/>
              <a:gd name="connsiteY4" fmla="*/ 8138955 h 9085006"/>
              <a:gd name="connsiteX5" fmla="*/ 0 w 6858000"/>
              <a:gd name="connsiteY5" fmla="*/ 9085006 h 9085006"/>
              <a:gd name="connsiteX0" fmla="*/ 0 w 6882493"/>
              <a:gd name="connsiteY0" fmla="*/ 9085006 h 9085006"/>
              <a:gd name="connsiteX1" fmla="*/ 0 w 6882493"/>
              <a:gd name="connsiteY1" fmla="*/ 0 h 9085006"/>
              <a:gd name="connsiteX2" fmla="*/ 6858000 w 6882493"/>
              <a:gd name="connsiteY2" fmla="*/ 0 h 9085006"/>
              <a:gd name="connsiteX3" fmla="*/ 6882493 w 6882493"/>
              <a:gd name="connsiteY3" fmla="*/ 9070911 h 9085006"/>
              <a:gd name="connsiteX4" fmla="*/ 3428906 w 6882493"/>
              <a:gd name="connsiteY4" fmla="*/ 8138955 h 9085006"/>
              <a:gd name="connsiteX5" fmla="*/ 0 w 6882493"/>
              <a:gd name="connsiteY5" fmla="*/ 9085006 h 9085006"/>
              <a:gd name="connsiteX0" fmla="*/ 0 w 6874331"/>
              <a:gd name="connsiteY0" fmla="*/ 9085006 h 9085006"/>
              <a:gd name="connsiteX1" fmla="*/ 0 w 6874331"/>
              <a:gd name="connsiteY1" fmla="*/ 0 h 9085006"/>
              <a:gd name="connsiteX2" fmla="*/ 6858000 w 6874331"/>
              <a:gd name="connsiteY2" fmla="*/ 0 h 9085006"/>
              <a:gd name="connsiteX3" fmla="*/ 6874331 w 6874331"/>
              <a:gd name="connsiteY3" fmla="*/ 9062747 h 9085006"/>
              <a:gd name="connsiteX4" fmla="*/ 3428906 w 6874331"/>
              <a:gd name="connsiteY4" fmla="*/ 8138955 h 9085006"/>
              <a:gd name="connsiteX5" fmla="*/ 0 w 6874331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0163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55283 w 6882498"/>
              <a:gd name="connsiteY4" fmla="*/ 8138955 h 9085006"/>
              <a:gd name="connsiteX5" fmla="*/ 0 w 6882498"/>
              <a:gd name="connsiteY5" fmla="*/ 9085006 h 9085006"/>
              <a:gd name="connsiteX0" fmla="*/ 0 w 6882498"/>
              <a:gd name="connsiteY0" fmla="*/ 9085006 h 9085006"/>
              <a:gd name="connsiteX1" fmla="*/ 0 w 6882498"/>
              <a:gd name="connsiteY1" fmla="*/ 0 h 9085006"/>
              <a:gd name="connsiteX2" fmla="*/ 6858000 w 6882498"/>
              <a:gd name="connsiteY2" fmla="*/ 0 h 9085006"/>
              <a:gd name="connsiteX3" fmla="*/ 6882498 w 6882498"/>
              <a:gd name="connsiteY3" fmla="*/ 9079076 h 9085006"/>
              <a:gd name="connsiteX4" fmla="*/ 3428906 w 6882498"/>
              <a:gd name="connsiteY4" fmla="*/ 8156540 h 9085006"/>
              <a:gd name="connsiteX5" fmla="*/ 0 w 6882498"/>
              <a:gd name="connsiteY5" fmla="*/ 9085006 h 9085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82498" h="9085006">
                <a:moveTo>
                  <a:pt x="0" y="9085006"/>
                </a:moveTo>
                <a:lnTo>
                  <a:pt x="0" y="0"/>
                </a:lnTo>
                <a:lnTo>
                  <a:pt x="6858000" y="0"/>
                </a:lnTo>
                <a:cubicBezTo>
                  <a:pt x="6866164" y="3023637"/>
                  <a:pt x="6874334" y="6055439"/>
                  <a:pt x="6882498" y="9079076"/>
                </a:cubicBezTo>
                <a:lnTo>
                  <a:pt x="3428906" y="8156540"/>
                </a:lnTo>
                <a:lnTo>
                  <a:pt x="0" y="9085006"/>
                </a:lnTo>
                <a:close/>
              </a:path>
            </a:pathLst>
          </a:custGeom>
          <a:gradFill flip="none" rotWithShape="1">
            <a:gsLst>
              <a:gs pos="100000">
                <a:schemeClr val="accent1"/>
              </a:gs>
              <a:gs pos="0">
                <a:schemeClr val="accent3"/>
              </a:gs>
            </a:gsLst>
            <a:lin ang="18900000" scaled="1"/>
            <a:tileRect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id="{787A8BF8-8B64-7345-B8D8-D2B005A404F1}"/>
              </a:ext>
            </a:extLst>
          </p:cNvPr>
          <p:cNvGrpSpPr/>
          <p:nvPr userDrawn="1"/>
        </p:nvGrpSpPr>
        <p:grpSpPr>
          <a:xfrm>
            <a:off x="2924849" y="0"/>
            <a:ext cx="1127505" cy="6876000"/>
            <a:chOff x="3945699" y="0"/>
            <a:chExt cx="1127505" cy="6876000"/>
          </a:xfrm>
        </p:grpSpPr>
        <p:sp>
          <p:nvSpPr>
            <p:cNvPr id="16" name="Нашивка 15">
              <a:extLst>
                <a:ext uri="{FF2B5EF4-FFF2-40B4-BE49-F238E27FC236}">
                  <a16:creationId xmlns:a16="http://schemas.microsoft.com/office/drawing/2014/main" id="{503AA737-7731-5D4B-93E9-8170425CDD10}"/>
                </a:ext>
              </a:extLst>
            </p:cNvPr>
            <p:cNvSpPr/>
            <p:nvPr/>
          </p:nvSpPr>
          <p:spPr>
            <a:xfrm>
              <a:off x="4042681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  <p:sp>
          <p:nvSpPr>
            <p:cNvPr id="17" name="Нашивка 16">
              <a:extLst>
                <a:ext uri="{FF2B5EF4-FFF2-40B4-BE49-F238E27FC236}">
                  <a16:creationId xmlns:a16="http://schemas.microsoft.com/office/drawing/2014/main" id="{12E1EB47-C8D5-324D-A43E-748FF75CD008}"/>
                </a:ext>
              </a:extLst>
            </p:cNvPr>
            <p:cNvSpPr/>
            <p:nvPr/>
          </p:nvSpPr>
          <p:spPr>
            <a:xfrm>
              <a:off x="3945699" y="0"/>
              <a:ext cx="1030523" cy="6876000"/>
            </a:xfrm>
            <a:prstGeom prst="chevron">
              <a:avLst>
                <a:gd name="adj" fmla="val 90297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>
                <a:solidFill>
                  <a:schemeClr val="tx1"/>
                </a:solidFill>
              </a:endParaRPr>
            </a:p>
          </p:txBody>
        </p:sp>
      </p:grp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997164FA-3D79-8B47-AE07-4FA8C5D58C3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10318897" y="388520"/>
            <a:ext cx="1065725" cy="355420"/>
          </a:xfrm>
          <a:prstGeom prst="rect">
            <a:avLst/>
          </a:prstGeom>
        </p:spPr>
      </p:pic>
      <p:sp>
        <p:nvSpPr>
          <p:cNvPr id="14" name="Заголовок 16">
            <a:extLst>
              <a:ext uri="{FF2B5EF4-FFF2-40B4-BE49-F238E27FC236}">
                <a16:creationId xmlns:a16="http://schemas.microsoft.com/office/drawing/2014/main" id="{9BB290FA-0BE0-FF40-A96B-5BE20DC037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08906" y="402822"/>
            <a:ext cx="2018961" cy="685801"/>
          </a:xfrm>
          <a:prstGeom prst="rect">
            <a:avLst/>
          </a:prstGeom>
        </p:spPr>
        <p:txBody>
          <a:bodyPr vert="horz" lIns="0" tIns="0" rIns="0" bIns="0" anchor="t">
            <a:spAutoFit/>
          </a:bodyPr>
          <a:lstStyle>
            <a:lvl1pPr>
              <a:defRPr sz="24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sp>
        <p:nvSpPr>
          <p:cNvPr id="11" name="Текст 2">
            <a:extLst>
              <a:ext uri="{FF2B5EF4-FFF2-40B4-BE49-F238E27FC236}">
                <a16:creationId xmlns:a16="http://schemas.microsoft.com/office/drawing/2014/main" id="{8802F073-65C6-D84E-933F-CC5D06A78CD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6527" y="6359240"/>
            <a:ext cx="2026007" cy="360000"/>
          </a:xfrm>
        </p:spPr>
        <p:txBody>
          <a:bodyPr lIns="0" tIns="0" rIns="0" bIns="0" anchor="ctr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800"/>
            </a:lvl1pPr>
          </a:lstStyle>
          <a:p>
            <a:pPr lvl="0"/>
            <a:r>
              <a:rPr lang="ru-RU" dirty="0"/>
              <a:t>Сноски</a:t>
            </a:r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id="{4F4F6C43-8A86-D747-AC1B-5F7BD5E807F5}"/>
              </a:ext>
            </a:extLst>
          </p:cNvPr>
          <p:cNvCxnSpPr>
            <a:cxnSpLocks/>
          </p:cNvCxnSpPr>
          <p:nvPr userDrawn="1"/>
        </p:nvCxnSpPr>
        <p:spPr>
          <a:xfrm>
            <a:off x="11102300" y="6459727"/>
            <a:ext cx="0" cy="159026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EFCF5145-1BA6-D741-8DAD-6CF2FFCBCFE9}"/>
              </a:ext>
            </a:extLst>
          </p:cNvPr>
          <p:cNvSpPr txBox="1"/>
          <p:nvPr userDrawn="1"/>
        </p:nvSpPr>
        <p:spPr>
          <a:xfrm>
            <a:off x="11176447" y="6461535"/>
            <a:ext cx="216000" cy="15645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/>
            <a:fld id="{C960BA5E-7A21-1A4B-A537-36612EA657E4}" type="slidenum">
              <a:rPr lang="ru-RU" sz="1000" smtClean="0">
                <a:solidFill>
                  <a:schemeClr val="bg1"/>
                </a:solidFill>
              </a:rPr>
              <a:pPr algn="l"/>
              <a:t>‹#›</a:t>
            </a:fld>
            <a:endParaRPr lang="ru-RU" sz="1000" dirty="0">
              <a:solidFill>
                <a:schemeClr val="bg1"/>
              </a:solidFill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E817CBE-2F70-0546-BC57-D869DBF7B28C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1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</p:spTree>
    <p:extLst>
      <p:ext uri="{BB962C8B-B14F-4D97-AF65-F5344CB8AC3E}">
        <p14:creationId xmlns:p14="http://schemas.microsoft.com/office/powerpoint/2010/main" val="20698807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vmlDrawing" Target="../drawings/vmlDrawing1.v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tags" Target="../tags/tag2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>
            <a:extLst>
              <a:ext uri="{FF2B5EF4-FFF2-40B4-BE49-F238E27FC236}">
                <a16:creationId xmlns:a16="http://schemas.microsoft.com/office/drawing/2014/main" id="{261D4D59-CE6F-8946-8CEC-CFA017835E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395888700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Слайд think-cell" r:id="rId49" imgW="7772400" imgH="10058400" progId="TCLayout.ActiveDocument.1">
                  <p:embed/>
                </p:oleObj>
              </mc:Choice>
              <mc:Fallback>
                <p:oleObj name="Слайд think-cell" r:id="rId49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6231664-1E76-6F48-B95F-1623FC4BA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A37504A0-B12C-F547-9F37-CD4801EB734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7A8C393-4B6E-B244-A9AE-C2BE3E519C6D}"/>
              </a:ext>
            </a:extLst>
          </p:cNvPr>
          <p:cNvSpPr/>
          <p:nvPr userDrawn="1"/>
        </p:nvSpPr>
        <p:spPr>
          <a:xfrm>
            <a:off x="7572836" y="6449182"/>
            <a:ext cx="3463636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/>
            <a:r>
              <a:rPr lang="ru-RU" sz="600" dirty="0">
                <a:solidFill>
                  <a:schemeClr val="bg2"/>
                </a:solidFill>
              </a:rPr>
              <a:t>Любое несанкционированное копирование, раскрытие или распространение материалов, содержащихся в данном документе (или приложениях к нему), строго запрещено</a:t>
            </a:r>
          </a:p>
        </p:txBody>
      </p: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C382E046-203B-AE4C-B16E-8F7BEB498396}"/>
              </a:ext>
            </a:extLst>
          </p:cNvPr>
          <p:cNvCxnSpPr>
            <a:cxnSpLocks/>
          </p:cNvCxnSpPr>
          <p:nvPr userDrawn="1"/>
        </p:nvCxnSpPr>
        <p:spPr>
          <a:xfrm>
            <a:off x="11104840" y="6460250"/>
            <a:ext cx="0" cy="159026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39900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48" r:id="rId2"/>
    <p:sldLayoutId id="2147483731" r:id="rId3"/>
    <p:sldLayoutId id="2147483710" r:id="rId4"/>
    <p:sldLayoutId id="2147483732" r:id="rId5"/>
    <p:sldLayoutId id="2147483711" r:id="rId6"/>
    <p:sldLayoutId id="2147483733" r:id="rId7"/>
    <p:sldLayoutId id="2147483712" r:id="rId8"/>
    <p:sldLayoutId id="2147483734" r:id="rId9"/>
    <p:sldLayoutId id="2147483713" r:id="rId10"/>
    <p:sldLayoutId id="2147483735" r:id="rId11"/>
    <p:sldLayoutId id="2147483714" r:id="rId12"/>
    <p:sldLayoutId id="2147483736" r:id="rId13"/>
    <p:sldLayoutId id="2147483649" r:id="rId14"/>
    <p:sldLayoutId id="2147483715" r:id="rId15"/>
    <p:sldLayoutId id="2147483716" r:id="rId16"/>
    <p:sldLayoutId id="2147483717" r:id="rId17"/>
    <p:sldLayoutId id="2147483768" r:id="rId18"/>
    <p:sldLayoutId id="2147483719" r:id="rId19"/>
    <p:sldLayoutId id="2147483769" r:id="rId20"/>
    <p:sldLayoutId id="2147483722" r:id="rId21"/>
    <p:sldLayoutId id="2147483723" r:id="rId22"/>
    <p:sldLayoutId id="2147483724" r:id="rId23"/>
    <p:sldLayoutId id="2147483725" r:id="rId24"/>
    <p:sldLayoutId id="2147483767" r:id="rId25"/>
    <p:sldLayoutId id="2147483727" r:id="rId26"/>
    <p:sldLayoutId id="2147483770" r:id="rId27"/>
    <p:sldLayoutId id="2147483759" r:id="rId28"/>
    <p:sldLayoutId id="2147483728" r:id="rId29"/>
    <p:sldLayoutId id="2147483729" r:id="rId30"/>
    <p:sldLayoutId id="2147483730" r:id="rId31"/>
    <p:sldLayoutId id="2147483738" r:id="rId32"/>
    <p:sldLayoutId id="2147483739" r:id="rId33"/>
    <p:sldLayoutId id="2147483740" r:id="rId34"/>
    <p:sldLayoutId id="2147483741" r:id="rId35"/>
    <p:sldLayoutId id="2147483742" r:id="rId36"/>
    <p:sldLayoutId id="2147483743" r:id="rId37"/>
    <p:sldLayoutId id="2147483757" r:id="rId38"/>
    <p:sldLayoutId id="2147483744" r:id="rId39"/>
    <p:sldLayoutId id="2147483764" r:id="rId40"/>
    <p:sldLayoutId id="2147483765" r:id="rId41"/>
    <p:sldLayoutId id="2147483760" r:id="rId42"/>
    <p:sldLayoutId id="2147483761" r:id="rId43"/>
    <p:sldLayoutId id="2147483766" r:id="rId44"/>
    <p:sldLayoutId id="2147483771" r:id="rId45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506" userDrawn="1">
          <p15:clr>
            <a:srgbClr val="F26B43"/>
          </p15:clr>
        </p15:guide>
        <p15:guide id="2" pos="7174" userDrawn="1">
          <p15:clr>
            <a:srgbClr val="F26B43"/>
          </p15:clr>
        </p15:guide>
        <p15:guide id="3" orient="horz" pos="686" userDrawn="1">
          <p15:clr>
            <a:srgbClr val="F26B43"/>
          </p15:clr>
        </p15:guide>
        <p15:guide id="4" orient="horz" pos="3906" userDrawn="1">
          <p15:clr>
            <a:srgbClr val="F26B43"/>
          </p15:clr>
        </p15:guide>
        <p15:guide id="6" orient="horz" pos="84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44.jpg"/><Relationship Id="rId5" Type="http://schemas.openxmlformats.org/officeDocument/2006/relationships/image" Target="../media/image43.emf"/><Relationship Id="rId4" Type="http://schemas.openxmlformats.org/officeDocument/2006/relationships/oleObject" Target="../embeddings/oleObject4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1.xml"/><Relationship Id="rId3" Type="http://schemas.openxmlformats.org/officeDocument/2006/relationships/slideLayout" Target="../slideLayouts/slideLayout45.xml"/><Relationship Id="rId7" Type="http://schemas.openxmlformats.org/officeDocument/2006/relationships/diagramLayout" Target="../diagrams/layout1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6" Type="http://schemas.openxmlformats.org/officeDocument/2006/relationships/diagramData" Target="../diagrams/data11.xml"/><Relationship Id="rId5" Type="http://schemas.openxmlformats.org/officeDocument/2006/relationships/image" Target="../media/image49.emf"/><Relationship Id="rId10" Type="http://schemas.microsoft.com/office/2007/relationships/diagramDrawing" Target="../diagrams/drawing11.xml"/><Relationship Id="rId4" Type="http://schemas.openxmlformats.org/officeDocument/2006/relationships/oleObject" Target="../embeddings/oleObject46.bin"/><Relationship Id="rId9" Type="http://schemas.openxmlformats.org/officeDocument/2006/relationships/diagramColors" Target="../diagrams/colors1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2.xml"/><Relationship Id="rId3" Type="http://schemas.openxmlformats.org/officeDocument/2006/relationships/slideLayout" Target="../slideLayouts/slideLayout45.xml"/><Relationship Id="rId7" Type="http://schemas.openxmlformats.org/officeDocument/2006/relationships/diagramLayout" Target="../diagrams/layout12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6" Type="http://schemas.openxmlformats.org/officeDocument/2006/relationships/diagramData" Target="../diagrams/data12.xml"/><Relationship Id="rId5" Type="http://schemas.openxmlformats.org/officeDocument/2006/relationships/image" Target="../media/image49.emf"/><Relationship Id="rId10" Type="http://schemas.microsoft.com/office/2007/relationships/diagramDrawing" Target="../diagrams/drawing12.xml"/><Relationship Id="rId4" Type="http://schemas.openxmlformats.org/officeDocument/2006/relationships/oleObject" Target="../embeddings/oleObject46.bin"/><Relationship Id="rId9" Type="http://schemas.openxmlformats.org/officeDocument/2006/relationships/diagramColors" Target="../diagrams/colors12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3.xml"/><Relationship Id="rId3" Type="http://schemas.openxmlformats.org/officeDocument/2006/relationships/slideLayout" Target="../slideLayouts/slideLayout45.xml"/><Relationship Id="rId7" Type="http://schemas.openxmlformats.org/officeDocument/2006/relationships/diagramLayout" Target="../diagrams/layout1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6" Type="http://schemas.openxmlformats.org/officeDocument/2006/relationships/diagramData" Target="../diagrams/data13.xml"/><Relationship Id="rId5" Type="http://schemas.openxmlformats.org/officeDocument/2006/relationships/image" Target="../media/image49.emf"/><Relationship Id="rId10" Type="http://schemas.microsoft.com/office/2007/relationships/diagramDrawing" Target="../diagrams/drawing13.xml"/><Relationship Id="rId4" Type="http://schemas.openxmlformats.org/officeDocument/2006/relationships/oleObject" Target="../embeddings/oleObject46.bin"/><Relationship Id="rId9" Type="http://schemas.openxmlformats.org/officeDocument/2006/relationships/diagramColors" Target="../diagrams/colors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50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2" Type="http://schemas.openxmlformats.org/officeDocument/2006/relationships/tags" Target="../tags/tag46.xml"/><Relationship Id="rId16" Type="http://schemas.openxmlformats.org/officeDocument/2006/relationships/image" Target="../media/image46.jpg"/><Relationship Id="rId1" Type="http://schemas.openxmlformats.org/officeDocument/2006/relationships/vmlDrawing" Target="../drawings/vmlDrawing45.v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45.emf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45.bin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47.pn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diagramQuickStyle" Target="../diagrams/quickStyle4.xml"/><Relationship Id="rId18" Type="http://schemas.openxmlformats.org/officeDocument/2006/relationships/diagramQuickStyle" Target="../diagrams/quickStyle5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3.xml"/><Relationship Id="rId12" Type="http://schemas.openxmlformats.org/officeDocument/2006/relationships/diagramLayout" Target="../diagrams/layout4.xml"/><Relationship Id="rId17" Type="http://schemas.openxmlformats.org/officeDocument/2006/relationships/diagramLayout" Target="../diagrams/layout5.xml"/><Relationship Id="rId2" Type="http://schemas.openxmlformats.org/officeDocument/2006/relationships/tags" Target="../tags/tag49.xml"/><Relationship Id="rId16" Type="http://schemas.openxmlformats.org/officeDocument/2006/relationships/diagramData" Target="../diagrams/data5.xml"/><Relationship Id="rId20" Type="http://schemas.microsoft.com/office/2007/relationships/diagramDrawing" Target="../diagrams/drawing5.xml"/><Relationship Id="rId1" Type="http://schemas.openxmlformats.org/officeDocument/2006/relationships/vmlDrawing" Target="../drawings/vmlDrawing48.vml"/><Relationship Id="rId6" Type="http://schemas.openxmlformats.org/officeDocument/2006/relationships/diagramData" Target="../diagrams/data3.xml"/><Relationship Id="rId11" Type="http://schemas.openxmlformats.org/officeDocument/2006/relationships/diagramData" Target="../diagrams/data4.xml"/><Relationship Id="rId5" Type="http://schemas.openxmlformats.org/officeDocument/2006/relationships/image" Target="../media/image45.emf"/><Relationship Id="rId15" Type="http://schemas.microsoft.com/office/2007/relationships/diagramDrawing" Target="../diagrams/drawing4.xml"/><Relationship Id="rId10" Type="http://schemas.microsoft.com/office/2007/relationships/diagramDrawing" Target="../diagrams/drawing3.xml"/><Relationship Id="rId19" Type="http://schemas.openxmlformats.org/officeDocument/2006/relationships/diagramColors" Target="../diagrams/colors5.xml"/><Relationship Id="rId4" Type="http://schemas.openxmlformats.org/officeDocument/2006/relationships/oleObject" Target="../embeddings/oleObject45.bin"/><Relationship Id="rId9" Type="http://schemas.openxmlformats.org/officeDocument/2006/relationships/diagramColors" Target="../diagrams/colors3.xml"/><Relationship Id="rId14" Type="http://schemas.openxmlformats.org/officeDocument/2006/relationships/diagramColors" Target="../diagrams/colors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48.jpeg"/><Relationship Id="rId5" Type="http://schemas.openxmlformats.org/officeDocument/2006/relationships/image" Target="../media/image45.emf"/><Relationship Id="rId4" Type="http://schemas.openxmlformats.org/officeDocument/2006/relationships/oleObject" Target="../embeddings/oleObject45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13" Type="http://schemas.openxmlformats.org/officeDocument/2006/relationships/diagramQuickStyle" Target="../diagrams/quickStyle7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6.xml"/><Relationship Id="rId12" Type="http://schemas.openxmlformats.org/officeDocument/2006/relationships/diagramLayout" Target="../diagrams/layout7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6" Type="http://schemas.openxmlformats.org/officeDocument/2006/relationships/diagramData" Target="../diagrams/data6.xml"/><Relationship Id="rId11" Type="http://schemas.openxmlformats.org/officeDocument/2006/relationships/diagramData" Target="../diagrams/data7.xml"/><Relationship Id="rId5" Type="http://schemas.openxmlformats.org/officeDocument/2006/relationships/image" Target="../media/image45.emf"/><Relationship Id="rId15" Type="http://schemas.microsoft.com/office/2007/relationships/diagramDrawing" Target="../diagrams/drawing7.xml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45.bin"/><Relationship Id="rId9" Type="http://schemas.openxmlformats.org/officeDocument/2006/relationships/diagramColors" Target="../diagrams/colors6.xml"/><Relationship Id="rId14" Type="http://schemas.openxmlformats.org/officeDocument/2006/relationships/diagramColors" Target="../diagrams/colors7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8.xml"/><Relationship Id="rId13" Type="http://schemas.openxmlformats.org/officeDocument/2006/relationships/diagramQuickStyle" Target="../diagrams/quickStyle9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8.xml"/><Relationship Id="rId12" Type="http://schemas.openxmlformats.org/officeDocument/2006/relationships/diagramLayout" Target="../diagrams/layout9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6" Type="http://schemas.openxmlformats.org/officeDocument/2006/relationships/diagramData" Target="../diagrams/data8.xml"/><Relationship Id="rId11" Type="http://schemas.openxmlformats.org/officeDocument/2006/relationships/diagramData" Target="../diagrams/data9.xml"/><Relationship Id="rId5" Type="http://schemas.openxmlformats.org/officeDocument/2006/relationships/image" Target="../media/image45.emf"/><Relationship Id="rId15" Type="http://schemas.microsoft.com/office/2007/relationships/diagramDrawing" Target="../diagrams/drawing9.xml"/><Relationship Id="rId10" Type="http://schemas.microsoft.com/office/2007/relationships/diagramDrawing" Target="../diagrams/drawing8.xml"/><Relationship Id="rId4" Type="http://schemas.openxmlformats.org/officeDocument/2006/relationships/oleObject" Target="../embeddings/oleObject45.bin"/><Relationship Id="rId9" Type="http://schemas.openxmlformats.org/officeDocument/2006/relationships/diagramColors" Target="../diagrams/colors8.xml"/><Relationship Id="rId14" Type="http://schemas.openxmlformats.org/officeDocument/2006/relationships/diagramColors" Target="../diagrams/colors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0.xml"/><Relationship Id="rId3" Type="http://schemas.openxmlformats.org/officeDocument/2006/relationships/slideLayout" Target="../slideLayouts/slideLayout1.xml"/><Relationship Id="rId7" Type="http://schemas.openxmlformats.org/officeDocument/2006/relationships/diagramLayout" Target="../diagrams/layout10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6" Type="http://schemas.openxmlformats.org/officeDocument/2006/relationships/diagramData" Target="../diagrams/data10.xml"/><Relationship Id="rId5" Type="http://schemas.openxmlformats.org/officeDocument/2006/relationships/image" Target="../media/image45.emf"/><Relationship Id="rId10" Type="http://schemas.microsoft.com/office/2007/relationships/diagramDrawing" Target="../diagrams/drawing10.xml"/><Relationship Id="rId4" Type="http://schemas.openxmlformats.org/officeDocument/2006/relationships/oleObject" Target="../embeddings/oleObject45.bin"/><Relationship Id="rId9" Type="http://schemas.openxmlformats.org/officeDocument/2006/relationships/diagramColors" Target="../diagrams/colors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5B53506C-CE71-4046-A9AA-BBF8B110198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5B53506C-CE71-4046-A9AA-BBF8B11019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0A866915-3A37-5A46-9335-CFFF9E0470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9112" y="2782668"/>
            <a:ext cx="4425763" cy="1292662"/>
          </a:xfrm>
        </p:spPr>
        <p:txBody>
          <a:bodyPr vert="horz" wrap="square">
            <a:spAutoFit/>
          </a:bodyPr>
          <a:lstStyle/>
          <a:p>
            <a:pPr algn="ctr"/>
            <a:r>
              <a:rPr lang="ru-RU" sz="2800" dirty="0" smtClean="0"/>
              <a:t>Приглашаем в Инженерную школу</a:t>
            </a:r>
            <a:br>
              <a:rPr lang="ru-RU" sz="2800" dirty="0" smtClean="0"/>
            </a:br>
            <a:r>
              <a:rPr lang="ru-RU" sz="2800" dirty="0" smtClean="0"/>
              <a:t>УГМК !</a:t>
            </a:r>
            <a:endParaRPr lang="ru-RU" sz="2800" dirty="0"/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3A9A0CEB-9DDE-4BE4-94F5-2E668792E2A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8095" y="-43195"/>
            <a:ext cx="8961120" cy="6944388"/>
          </a:xfrm>
        </p:spPr>
      </p:pic>
      <p:cxnSp>
        <p:nvCxnSpPr>
          <p:cNvPr id="4" name="Прямая соединительная линия 3"/>
          <p:cNvCxnSpPr>
            <a:stCxn id="8" idx="6"/>
            <a:endCxn id="8" idx="5"/>
          </p:cNvCxnSpPr>
          <p:nvPr/>
        </p:nvCxnSpPr>
        <p:spPr>
          <a:xfrm>
            <a:off x="3458095" y="-43195"/>
            <a:ext cx="1131165" cy="3481617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>
            <a:endCxn id="8" idx="4"/>
          </p:cNvCxnSpPr>
          <p:nvPr/>
        </p:nvCxnSpPr>
        <p:spPr>
          <a:xfrm flipH="1">
            <a:off x="3475696" y="3419576"/>
            <a:ext cx="1113564" cy="3462723"/>
          </a:xfrm>
          <a:prstGeom prst="line">
            <a:avLst/>
          </a:prstGeom>
          <a:ln w="762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3332480" y="-43195"/>
            <a:ext cx="1131165" cy="3481617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H="1">
            <a:off x="3350081" y="3419576"/>
            <a:ext cx="1113564" cy="3462723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4855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C5F0B6A-2C83-9547-8091-0581D4A407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3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C5F0B6A-2C83-9547-8091-0581D4A40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6D4B70-6B5C-784B-9A47-E4153BA6C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40" y="402822"/>
            <a:ext cx="3299825" cy="997196"/>
          </a:xfrm>
        </p:spPr>
        <p:txBody>
          <a:bodyPr vert="horz"/>
          <a:lstStyle/>
          <a:p>
            <a:pPr algn="ctr"/>
            <a:r>
              <a:rPr lang="ru-RU" dirty="0"/>
              <a:t>Конкурсный отбор в Инженерную школу УГМК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0AE47CE2-74A4-4356-B8A8-13E4F71A91DF}"/>
              </a:ext>
            </a:extLst>
          </p:cNvPr>
          <p:cNvSpPr txBox="1">
            <a:spLocks/>
          </p:cNvSpPr>
          <p:nvPr/>
        </p:nvSpPr>
        <p:spPr>
          <a:xfrm>
            <a:off x="357775" y="2978877"/>
            <a:ext cx="3676341" cy="172354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200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Euclid Circular B" panose="020B0504000000000000" pitchFamily="34" charset="-52"/>
              </a:defRPr>
            </a:lvl1pPr>
            <a:lvl2pPr marL="284400" indent="-172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511200" indent="-165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600" b="1"/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 baseline="0"/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2400" baseline="0">
                <a:solidFill>
                  <a:schemeClr val="tx2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Euclid Circular B" panose="020B0504000000000000" pitchFamily="34" charset="-52"/>
              </a:rPr>
              <a:t>Вводный курс «Введение в профессию инженера»</a:t>
            </a:r>
          </a:p>
        </p:txBody>
      </p:sp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0219CBDD-5562-4DCB-8428-47DE97F5A5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1738112"/>
              </p:ext>
            </p:extLst>
          </p:nvPr>
        </p:nvGraphicFramePr>
        <p:xfrm>
          <a:off x="5472953" y="1257299"/>
          <a:ext cx="6361272" cy="50426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6272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C5F0B6A-2C83-9547-8091-0581D4A407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9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C5F0B6A-2C83-9547-8091-0581D4A40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6D4B70-6B5C-784B-9A47-E4153BA6C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40" y="402822"/>
            <a:ext cx="3299825" cy="997196"/>
          </a:xfrm>
        </p:spPr>
        <p:txBody>
          <a:bodyPr vert="horz"/>
          <a:lstStyle/>
          <a:p>
            <a:pPr algn="ctr"/>
            <a:r>
              <a:rPr lang="ru-RU" dirty="0"/>
              <a:t>Конкурсный отбор в Инженерную школу УГМК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0AE47CE2-74A4-4356-B8A8-13E4F71A91DF}"/>
              </a:ext>
            </a:extLst>
          </p:cNvPr>
          <p:cNvSpPr txBox="1">
            <a:spLocks/>
          </p:cNvSpPr>
          <p:nvPr/>
        </p:nvSpPr>
        <p:spPr>
          <a:xfrm>
            <a:off x="357775" y="3213556"/>
            <a:ext cx="367634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200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Euclid Circular B" panose="020B0504000000000000" pitchFamily="34" charset="-52"/>
              </a:defRPr>
            </a:lvl1pPr>
            <a:lvl2pPr marL="284400" indent="-172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511200" indent="-165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600" b="1"/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 baseline="0"/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2400" baseline="0">
                <a:solidFill>
                  <a:schemeClr val="tx2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Euclid Circular B" panose="020B0504000000000000" pitchFamily="34" charset="-52"/>
              </a:rPr>
              <a:t>Конкурсный отбор</a:t>
            </a:r>
          </a:p>
        </p:txBody>
      </p:sp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0219CBDD-5562-4DCB-8428-47DE97F5A5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92480714"/>
              </p:ext>
            </p:extLst>
          </p:nvPr>
        </p:nvGraphicFramePr>
        <p:xfrm>
          <a:off x="5472953" y="934571"/>
          <a:ext cx="6361272" cy="49014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7BE3A1A-ACE3-4B33-A23A-9BFFB8C2B3F7}"/>
              </a:ext>
            </a:extLst>
          </p:cNvPr>
          <p:cNvSpPr txBox="1"/>
          <p:nvPr/>
        </p:nvSpPr>
        <p:spPr>
          <a:xfrm>
            <a:off x="5472953" y="5940470"/>
            <a:ext cx="5413983" cy="369332"/>
          </a:xfrm>
          <a:prstGeom prst="rect">
            <a:avLst/>
          </a:prstGeom>
          <a:noFill/>
        </p:spPr>
        <p:txBody>
          <a:bodyPr wrap="none" lIns="0" tIns="0" rIns="0" bIns="0" rtlCol="0" anchor="t">
            <a:spAutoFit/>
          </a:bodyPr>
          <a:lstStyle/>
          <a:p>
            <a:pPr algn="l"/>
            <a:r>
              <a:rPr lang="ru-RU" sz="1200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Подробности смотрите в Положении о проведении конкурсного отбора, </a:t>
            </a:r>
          </a:p>
          <a:p>
            <a:pPr algn="l"/>
            <a:r>
              <a:rPr lang="ru-RU" sz="1200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публиковано на сайте </a:t>
            </a:r>
            <a:r>
              <a:rPr lang="en-US" sz="1200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ttps://school.ugmk.com</a:t>
            </a:r>
            <a:endParaRPr lang="ru-RU" sz="1200" i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05894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6C5F0B6A-2C83-9547-8091-0581D4A407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5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6C5F0B6A-2C83-9547-8091-0581D4A407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96D4B70-6B5C-784B-9A47-E4153BA6CB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0540" y="402822"/>
            <a:ext cx="3299825" cy="997196"/>
          </a:xfrm>
        </p:spPr>
        <p:txBody>
          <a:bodyPr vert="horz"/>
          <a:lstStyle/>
          <a:p>
            <a:pPr algn="ctr"/>
            <a:r>
              <a:rPr lang="ru-RU" dirty="0"/>
              <a:t>Конкурсный отбор в Инженерную школу УГМК</a:t>
            </a:r>
          </a:p>
        </p:txBody>
      </p:sp>
      <p:sp>
        <p:nvSpPr>
          <p:cNvPr id="5" name="Текст 2">
            <a:extLst>
              <a:ext uri="{FF2B5EF4-FFF2-40B4-BE49-F238E27FC236}">
                <a16:creationId xmlns:a16="http://schemas.microsoft.com/office/drawing/2014/main" id="{0AE47CE2-74A4-4356-B8A8-13E4F71A91DF}"/>
              </a:ext>
            </a:extLst>
          </p:cNvPr>
          <p:cNvSpPr txBox="1">
            <a:spLocks/>
          </p:cNvSpPr>
          <p:nvPr/>
        </p:nvSpPr>
        <p:spPr>
          <a:xfrm>
            <a:off x="357775" y="3213556"/>
            <a:ext cx="3676341" cy="43088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defPPr>
              <a:defRPr lang="ru-RU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​"/>
              <a:tabLst/>
              <a:defRPr kumimoji="0" sz="1200" i="0" u="none" strike="noStrike" cap="none" spc="0" normalizeH="0" baseline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Euclid Circular B" panose="020B0504000000000000" pitchFamily="34" charset="-52"/>
              </a:defRPr>
            </a:lvl1pPr>
            <a:lvl2pPr marL="284400" indent="-172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200"/>
            </a:lvl2pPr>
            <a:lvl3pPr marL="511200" indent="-165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12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16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 typeface="Arial" panose="020B0604020202020204" pitchFamily="34" charset="0"/>
              <a:buChar char="​"/>
              <a:defRPr sz="1600" b="1"/>
            </a:lvl5pPr>
            <a:lvl6pPr marL="269875" indent="-1524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600"/>
            </a:lvl6pPr>
            <a:lvl7pPr marL="0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 baseline="0"/>
            </a:lvl7pPr>
            <a:lvl8pPr marL="0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5400" baseline="0">
                <a:solidFill>
                  <a:schemeClr val="tx2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2400" baseline="0">
                <a:solidFill>
                  <a:schemeClr val="tx2"/>
                </a:solidFill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​"/>
              <a:tabLst/>
              <a:defRPr/>
            </a:pPr>
            <a:r>
              <a:rPr kumimoji="0" lang="ru-RU" sz="2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Euclid Circular B" panose="020B0504000000000000" pitchFamily="34" charset="-52"/>
              </a:rPr>
              <a:t>Зачисление</a:t>
            </a:r>
          </a:p>
        </p:txBody>
      </p:sp>
      <p:graphicFrame>
        <p:nvGraphicFramePr>
          <p:cNvPr id="7" name="Схема 6">
            <a:extLst>
              <a:ext uri="{FF2B5EF4-FFF2-40B4-BE49-F238E27FC236}">
                <a16:creationId xmlns:a16="http://schemas.microsoft.com/office/drawing/2014/main" id="{0219CBDD-5562-4DCB-8428-47DE97F5A5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9953945"/>
              </p:ext>
            </p:extLst>
          </p:nvPr>
        </p:nvGraphicFramePr>
        <p:xfrm>
          <a:off x="5372100" y="571499"/>
          <a:ext cx="6462125" cy="59906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524567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/>
              <a:t>Сайт Инженерной школы УГМК</a:t>
            </a:r>
            <a:br>
              <a:rPr lang="ru-RU" dirty="0"/>
            </a:br>
            <a:r>
              <a:rPr lang="en-US" dirty="0">
                <a:solidFill>
                  <a:srgbClr val="FF0000"/>
                </a:solidFill>
              </a:rPr>
              <a:t>https://school.ugmk.com</a:t>
            </a:r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FB8458A-FC5B-44D1-8D5F-2050B15AABC4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9757"/>
          <a:stretch/>
        </p:blipFill>
        <p:spPr>
          <a:xfrm>
            <a:off x="0" y="1181919"/>
            <a:ext cx="12192000" cy="51449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792399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 smtClean="0"/>
              <a:t>ИНЖЕНЕРНАЯ</a:t>
            </a:r>
            <a:r>
              <a:rPr lang="en-GB" dirty="0" smtClean="0"/>
              <a:t>  </a:t>
            </a:r>
            <a:r>
              <a:rPr lang="ru-RU" dirty="0" smtClean="0"/>
              <a:t> </a:t>
            </a:r>
            <a:r>
              <a:rPr lang="ru-RU" dirty="0"/>
              <a:t>ШКОЛА </a:t>
            </a:r>
            <a:r>
              <a:rPr lang="en-GB" dirty="0" smtClean="0"/>
              <a:t>  </a:t>
            </a:r>
            <a:r>
              <a:rPr lang="ru-RU" dirty="0" smtClean="0"/>
              <a:t>УГМК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15" name="Схема 14">
            <a:extLst>
              <a:ext uri="{FF2B5EF4-FFF2-40B4-BE49-F238E27FC236}">
                <a16:creationId xmlns:a16="http://schemas.microsoft.com/office/drawing/2014/main" id="{D2FDB60E-02ED-4C5F-8F2B-ACE3650C94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8240245"/>
              </p:ext>
            </p:extLst>
          </p:nvPr>
        </p:nvGraphicFramePr>
        <p:xfrm>
          <a:off x="342900" y="1264023"/>
          <a:ext cx="11524129" cy="20641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17" name="Схема 16">
            <a:extLst>
              <a:ext uri="{FF2B5EF4-FFF2-40B4-BE49-F238E27FC236}">
                <a16:creationId xmlns:a16="http://schemas.microsoft.com/office/drawing/2014/main" id="{DC259DD8-830C-47C8-8225-438620497D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67853204"/>
              </p:ext>
            </p:extLst>
          </p:nvPr>
        </p:nvGraphicFramePr>
        <p:xfrm>
          <a:off x="5722090" y="3348928"/>
          <a:ext cx="5982229" cy="311006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969"/>
          <a:stretch/>
        </p:blipFill>
        <p:spPr>
          <a:xfrm>
            <a:off x="650752" y="3047467"/>
            <a:ext cx="4694154" cy="368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195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2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 smtClean="0"/>
              <a:t>Регионы, где работает Инженерная школа </a:t>
            </a:r>
            <a:r>
              <a:rPr lang="ru-RU" dirty="0"/>
              <a:t>УГМК</a:t>
            </a:r>
          </a:p>
        </p:txBody>
      </p:sp>
      <p:pic>
        <p:nvPicPr>
          <p:cNvPr id="5" name="Рисунок 4" descr="Изображение выглядит как карта&#10;&#10;Автоматически созданное описание">
            <a:extLst>
              <a:ext uri="{FF2B5EF4-FFF2-40B4-BE49-F238E27FC236}">
                <a16:creationId xmlns:a16="http://schemas.microsoft.com/office/drawing/2014/main" id="{1FB6F797-F49D-40A9-A8A0-ACC488EE511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68" t="16487" b="4310"/>
          <a:stretch/>
        </p:blipFill>
        <p:spPr>
          <a:xfrm>
            <a:off x="0" y="1181523"/>
            <a:ext cx="12189184" cy="5004124"/>
          </a:xfrm>
          <a:prstGeom prst="rect">
            <a:avLst/>
          </a:prstGeom>
          <a:effectLst>
            <a:softEdge rad="31750"/>
          </a:effectLst>
        </p:spPr>
      </p:pic>
    </p:spTree>
    <p:extLst>
      <p:ext uri="{BB962C8B-B14F-4D97-AF65-F5344CB8AC3E}">
        <p14:creationId xmlns:p14="http://schemas.microsoft.com/office/powerpoint/2010/main" val="12130784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4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/>
              <a:t>ИНЖЕНЕРНАЯ </a:t>
            </a:r>
            <a:r>
              <a:rPr lang="ru-RU" dirty="0" smtClean="0"/>
              <a:t>  ШКОЛА   УГМК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739083" y="814820"/>
            <a:ext cx="26150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Краткое содержание:</a:t>
            </a:r>
            <a:endParaRPr lang="ru-RU" b="1" dirty="0"/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656544" y="3300526"/>
            <a:ext cx="10050278" cy="4795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numCol="1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1200"/>
              </a:spcBef>
              <a:buNone/>
            </a:pPr>
            <a:r>
              <a:rPr lang="ru-RU" sz="2400" dirty="0" smtClean="0">
                <a:latin typeface="+mj-lt"/>
              </a:rPr>
              <a:t>Очные встречи со школьниками на предприятиях</a:t>
            </a:r>
          </a:p>
          <a:p>
            <a:pPr marL="457200" indent="-457200">
              <a:buFont typeface="+mj-lt"/>
              <a:buAutoNum type="arabicPeriod"/>
            </a:pPr>
            <a:endParaRPr lang="ru-RU" sz="2400" dirty="0" smtClean="0">
              <a:latin typeface="+mj-lt"/>
            </a:endParaRPr>
          </a:p>
          <a:p>
            <a:pPr marL="457200" indent="-457200">
              <a:buFont typeface="+mj-lt"/>
              <a:buAutoNum type="arabicPeriod"/>
            </a:pPr>
            <a:endParaRPr lang="ru-RU" sz="2400" dirty="0" smtClean="0">
              <a:latin typeface="+mj-lt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656542" y="1745592"/>
            <a:ext cx="10050280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2400" dirty="0">
                <a:latin typeface="+mj-lt"/>
              </a:rPr>
              <a:t>Онлайн обучение физике, химии, математике, подготовка к ЕГЭ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56542" y="2523059"/>
            <a:ext cx="10050280" cy="46166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ru-RU" sz="2400" dirty="0">
                <a:latin typeface="+mj-lt"/>
              </a:rPr>
              <a:t>Инженерные смены в каникулярное время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1185949" y="4095832"/>
            <a:ext cx="927146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/>
              <a:t>Инженерная школа УГМК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сширяет </a:t>
            </a:r>
            <a:r>
              <a:rPr lang="ru-RU" dirty="0"/>
              <a:t>образовательные возможности, </a:t>
            </a:r>
            <a:r>
              <a:rPr lang="ru-RU" dirty="0" smtClean="0"/>
              <a:t>позволяя экономить </a:t>
            </a:r>
            <a:r>
              <a:rPr lang="ru-RU" dirty="0"/>
              <a:t>на образовании,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увеличивает круг общения подростков и полезных знакомств,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знакомит </a:t>
            </a:r>
            <a:r>
              <a:rPr lang="ru-RU" dirty="0"/>
              <a:t>с </a:t>
            </a:r>
            <a:r>
              <a:rPr lang="ru-RU" dirty="0" smtClean="0"/>
              <a:t>предприятиями </a:t>
            </a:r>
            <a:r>
              <a:rPr lang="ru-RU" dirty="0"/>
              <a:t>и </a:t>
            </a:r>
            <a:r>
              <a:rPr lang="ru-RU" dirty="0" smtClean="0"/>
              <a:t>производственными </a:t>
            </a:r>
            <a:r>
              <a:rPr lang="ru-RU" dirty="0"/>
              <a:t>процессами, 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могает выбрать профессию и облегчает поступление в вуз или техникум, трудоустройство в УГМ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45211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7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/>
              <a:t>ИНЖЕНЕРНАЯ </a:t>
            </a:r>
            <a:r>
              <a:rPr lang="ru-RU" dirty="0" smtClean="0"/>
              <a:t>  ШКОЛА   УГМК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18C3B7AA-1161-4CEF-95E4-EC5368358DA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62378898"/>
              </p:ext>
            </p:extLst>
          </p:nvPr>
        </p:nvGraphicFramePr>
        <p:xfrm>
          <a:off x="739083" y="2951018"/>
          <a:ext cx="5562315" cy="17082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739083" y="814820"/>
            <a:ext cx="3455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Опыт 2021/22 </a:t>
            </a:r>
            <a:r>
              <a:rPr lang="ru-RU" b="1" dirty="0"/>
              <a:t>учебного года </a:t>
            </a:r>
          </a:p>
        </p:txBody>
      </p:sp>
      <p:graphicFrame>
        <p:nvGraphicFramePr>
          <p:cNvPr id="9" name="Схема 8">
            <a:extLst>
              <a:ext uri="{FF2B5EF4-FFF2-40B4-BE49-F238E27FC236}">
                <a16:creationId xmlns:a16="http://schemas.microsoft.com/office/drawing/2014/main" id="{E33BC43F-C1A8-48C5-92AD-8DA29DBE9BC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5485240"/>
              </p:ext>
            </p:extLst>
          </p:nvPr>
        </p:nvGraphicFramePr>
        <p:xfrm>
          <a:off x="895244" y="1727681"/>
          <a:ext cx="4350438" cy="10667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graphicFrame>
        <p:nvGraphicFramePr>
          <p:cNvPr id="10" name="Схема 9">
            <a:extLst>
              <a:ext uri="{FF2B5EF4-FFF2-40B4-BE49-F238E27FC236}">
                <a16:creationId xmlns:a16="http://schemas.microsoft.com/office/drawing/2014/main" id="{647BBC2C-2E2A-4356-89C2-89314FC76CD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07926572"/>
              </p:ext>
            </p:extLst>
          </p:nvPr>
        </p:nvGraphicFramePr>
        <p:xfrm>
          <a:off x="5552902" y="1982584"/>
          <a:ext cx="6384174" cy="5569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</p:spTree>
    <p:extLst>
      <p:ext uri="{BB962C8B-B14F-4D97-AF65-F5344CB8AC3E}">
        <p14:creationId xmlns:p14="http://schemas.microsoft.com/office/powerpoint/2010/main" val="1489353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7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 smtClean="0"/>
              <a:t>ИНЖЕНЕРНАЯ   </a:t>
            </a:r>
            <a:r>
              <a:rPr lang="ru-RU" dirty="0"/>
              <a:t>ШКОЛА </a:t>
            </a:r>
            <a:r>
              <a:rPr lang="ru-RU" dirty="0" smtClean="0"/>
              <a:t>  УГМК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822291" y="1979341"/>
            <a:ext cx="5029867" cy="166944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46800" bIns="46800" rtlCol="0" anchor="t"/>
          <a:lstStyle/>
          <a:p>
            <a:pPr algn="l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1580764" y="2029628"/>
            <a:ext cx="4171643" cy="150810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ru-RU" sz="1400" dirty="0" smtClean="0"/>
              <a:t>Цель: </a:t>
            </a:r>
            <a:r>
              <a:rPr lang="ru-RU" sz="1400" dirty="0"/>
              <a:t>воспитание будущих </a:t>
            </a:r>
            <a:r>
              <a:rPr lang="ru-RU" sz="1400" dirty="0" smtClean="0"/>
              <a:t>инженеров </a:t>
            </a:r>
            <a:endParaRPr lang="ru-RU" sz="1400" dirty="0" smtClean="0"/>
          </a:p>
          <a:p>
            <a:r>
              <a:rPr lang="ru-RU" sz="1400" dirty="0" smtClean="0"/>
              <a:t>Задачи</a:t>
            </a:r>
            <a:r>
              <a:rPr lang="ru-RU" sz="1400" dirty="0"/>
              <a:t>: </a:t>
            </a:r>
            <a:endParaRPr lang="ru-RU" sz="14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ознакомить </a:t>
            </a:r>
            <a:r>
              <a:rPr lang="ru-RU" sz="1400" dirty="0"/>
              <a:t>с полным технологическим циклом </a:t>
            </a:r>
            <a:r>
              <a:rPr lang="ru-RU" sz="1400" dirty="0" smtClean="0"/>
              <a:t>УГМК</a:t>
            </a:r>
            <a:endParaRPr lang="ru-RU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развить умение работать в </a:t>
            </a:r>
            <a:r>
              <a:rPr lang="ru-RU" sz="1400" dirty="0" smtClean="0"/>
              <a:t>команде</a:t>
            </a:r>
            <a:endParaRPr lang="ru-RU" sz="14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/>
              <a:t>создать творческую развивающую среду </a:t>
            </a:r>
            <a:endParaRPr lang="ru-RU" sz="14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ru-RU" sz="1400" dirty="0" smtClean="0"/>
              <a:t>развить </a:t>
            </a:r>
            <a:r>
              <a:rPr lang="ru-RU" sz="1400" dirty="0"/>
              <a:t>интерес к инженерной </a:t>
            </a:r>
            <a:r>
              <a:rPr lang="ru-RU" sz="1400" dirty="0" smtClean="0"/>
              <a:t>деятельности</a:t>
            </a:r>
            <a:endParaRPr lang="ru-RU" sz="1400" dirty="0">
              <a:solidFill>
                <a:schemeClr val="tx1"/>
              </a:solidFill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9B0D4548-E42C-4B9D-81E9-C454AA9E80B5}"/>
              </a:ext>
            </a:extLst>
          </p:cNvPr>
          <p:cNvGrpSpPr/>
          <p:nvPr/>
        </p:nvGrpSpPr>
        <p:grpSpPr>
          <a:xfrm>
            <a:off x="900345" y="2364718"/>
            <a:ext cx="550305" cy="550305"/>
            <a:chOff x="9017838" y="2873137"/>
            <a:chExt cx="550305" cy="550305"/>
          </a:xfrm>
        </p:grpSpPr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C7DC4C33-9341-4716-9D39-F1997C7213C0}"/>
                </a:ext>
              </a:extLst>
            </p:cNvPr>
            <p:cNvSpPr/>
            <p:nvPr/>
          </p:nvSpPr>
          <p:spPr>
            <a:xfrm>
              <a:off x="9017838" y="28731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Рисунок 63">
              <a:extLst>
                <a:ext uri="{FF2B5EF4-FFF2-40B4-BE49-F238E27FC236}">
                  <a16:creationId xmlns:a16="http://schemas.microsoft.com/office/drawing/2014/main" id="{93980E24-938F-4CFB-9903-224AC0098090}"/>
                </a:ext>
              </a:extLst>
            </p:cNvPr>
            <p:cNvSpPr/>
            <p:nvPr/>
          </p:nvSpPr>
          <p:spPr>
            <a:xfrm>
              <a:off x="9126806" y="2983499"/>
              <a:ext cx="332376" cy="329572"/>
            </a:xfrm>
            <a:custGeom>
              <a:avLst/>
              <a:gdLst>
                <a:gd name="connsiteX0" fmla="*/ 332010 w 332376"/>
                <a:gd name="connsiteY0" fmla="*/ 41731 h 329572"/>
                <a:gd name="connsiteX1" fmla="*/ 327103 w 332376"/>
                <a:gd name="connsiteY1" fmla="*/ 38282 h 329572"/>
                <a:gd name="connsiteX2" fmla="*/ 295099 w 332376"/>
                <a:gd name="connsiteY2" fmla="*/ 37533 h 329572"/>
                <a:gd name="connsiteX3" fmla="*/ 295823 w 332376"/>
                <a:gd name="connsiteY3" fmla="*/ 5522 h 329572"/>
                <a:gd name="connsiteX4" fmla="*/ 292601 w 332376"/>
                <a:gd name="connsiteY4" fmla="*/ 460 h 329572"/>
                <a:gd name="connsiteX5" fmla="*/ 286690 w 332376"/>
                <a:gd name="connsiteY5" fmla="*/ 1497 h 329572"/>
                <a:gd name="connsiteX6" fmla="*/ 248447 w 332376"/>
                <a:gd name="connsiteY6" fmla="*/ 38026 h 329572"/>
                <a:gd name="connsiteX7" fmla="*/ 246773 w 332376"/>
                <a:gd name="connsiteY7" fmla="*/ 41803 h 329572"/>
                <a:gd name="connsiteX8" fmla="*/ 245952 w 332376"/>
                <a:gd name="connsiteY8" fmla="*/ 75981 h 329572"/>
                <a:gd name="connsiteX9" fmla="*/ 236480 w 332376"/>
                <a:gd name="connsiteY9" fmla="*/ 85453 h 329572"/>
                <a:gd name="connsiteX10" fmla="*/ 140846 w 332376"/>
                <a:gd name="connsiteY10" fmla="*/ 47876 h 329572"/>
                <a:gd name="connsiteX11" fmla="*/ 0 w 332376"/>
                <a:gd name="connsiteY11" fmla="*/ 188751 h 329572"/>
                <a:gd name="connsiteX12" fmla="*/ 140846 w 332376"/>
                <a:gd name="connsiteY12" fmla="*/ 329572 h 329572"/>
                <a:gd name="connsiteX13" fmla="*/ 281693 w 332376"/>
                <a:gd name="connsiteY13" fmla="*/ 188751 h 329572"/>
                <a:gd name="connsiteX14" fmla="*/ 244116 w 332376"/>
                <a:gd name="connsiteY14" fmla="*/ 93088 h 329572"/>
                <a:gd name="connsiteX15" fmla="*/ 252443 w 332376"/>
                <a:gd name="connsiteY15" fmla="*/ 84762 h 329572"/>
                <a:gd name="connsiteX16" fmla="*/ 288580 w 332376"/>
                <a:gd name="connsiteY16" fmla="*/ 85604 h 329572"/>
                <a:gd name="connsiteX17" fmla="*/ 288706 w 332376"/>
                <a:gd name="connsiteY17" fmla="*/ 85604 h 329572"/>
                <a:gd name="connsiteX18" fmla="*/ 292432 w 332376"/>
                <a:gd name="connsiteY18" fmla="*/ 84110 h 329572"/>
                <a:gd name="connsiteX19" fmla="*/ 330703 w 332376"/>
                <a:gd name="connsiteY19" fmla="*/ 47588 h 329572"/>
                <a:gd name="connsiteX20" fmla="*/ 332010 w 332376"/>
                <a:gd name="connsiteY20" fmla="*/ 41731 h 329572"/>
                <a:gd name="connsiteX21" fmla="*/ 270889 w 332376"/>
                <a:gd name="connsiteY21" fmla="*/ 188751 h 329572"/>
                <a:gd name="connsiteX22" fmla="*/ 140843 w 332376"/>
                <a:gd name="connsiteY22" fmla="*/ 318772 h 329572"/>
                <a:gd name="connsiteX23" fmla="*/ 10796 w 332376"/>
                <a:gd name="connsiteY23" fmla="*/ 188751 h 329572"/>
                <a:gd name="connsiteX24" fmla="*/ 140843 w 332376"/>
                <a:gd name="connsiteY24" fmla="*/ 58676 h 329572"/>
                <a:gd name="connsiteX25" fmla="*/ 228845 w 332376"/>
                <a:gd name="connsiteY25" fmla="*/ 93085 h 329572"/>
                <a:gd name="connsiteX26" fmla="*/ 208858 w 332376"/>
                <a:gd name="connsiteY26" fmla="*/ 113072 h 329572"/>
                <a:gd name="connsiteX27" fmla="*/ 140846 w 332376"/>
                <a:gd name="connsiteY27" fmla="*/ 86943 h 329572"/>
                <a:gd name="connsiteX28" fmla="*/ 39071 w 332376"/>
                <a:gd name="connsiteY28" fmla="*/ 188748 h 329572"/>
                <a:gd name="connsiteX29" fmla="*/ 140846 w 332376"/>
                <a:gd name="connsiteY29" fmla="*/ 290523 h 329572"/>
                <a:gd name="connsiteX30" fmla="*/ 242651 w 332376"/>
                <a:gd name="connsiteY30" fmla="*/ 188748 h 329572"/>
                <a:gd name="connsiteX31" fmla="*/ 216493 w 332376"/>
                <a:gd name="connsiteY31" fmla="*/ 120704 h 329572"/>
                <a:gd name="connsiteX32" fmla="*/ 236477 w 332376"/>
                <a:gd name="connsiteY32" fmla="*/ 100720 h 329572"/>
                <a:gd name="connsiteX33" fmla="*/ 270889 w 332376"/>
                <a:gd name="connsiteY33" fmla="*/ 188751 h 329572"/>
                <a:gd name="connsiteX34" fmla="*/ 173358 w 332376"/>
                <a:gd name="connsiteY34" fmla="*/ 188733 h 329572"/>
                <a:gd name="connsiteX35" fmla="*/ 140850 w 332376"/>
                <a:gd name="connsiteY35" fmla="*/ 221238 h 329572"/>
                <a:gd name="connsiteX36" fmla="*/ 108342 w 332376"/>
                <a:gd name="connsiteY36" fmla="*/ 188733 h 329572"/>
                <a:gd name="connsiteX37" fmla="*/ 140850 w 332376"/>
                <a:gd name="connsiteY37" fmla="*/ 156225 h 329572"/>
                <a:gd name="connsiteX38" fmla="*/ 159664 w 332376"/>
                <a:gd name="connsiteY38" fmla="*/ 162270 h 329572"/>
                <a:gd name="connsiteX39" fmla="*/ 137023 w 332376"/>
                <a:gd name="connsiteY39" fmla="*/ 184910 h 329572"/>
                <a:gd name="connsiteX40" fmla="*/ 137023 w 332376"/>
                <a:gd name="connsiteY40" fmla="*/ 192546 h 329572"/>
                <a:gd name="connsiteX41" fmla="*/ 140843 w 332376"/>
                <a:gd name="connsiteY41" fmla="*/ 194126 h 329572"/>
                <a:gd name="connsiteX42" fmla="*/ 144662 w 332376"/>
                <a:gd name="connsiteY42" fmla="*/ 192546 h 329572"/>
                <a:gd name="connsiteX43" fmla="*/ 167303 w 332376"/>
                <a:gd name="connsiteY43" fmla="*/ 169905 h 329572"/>
                <a:gd name="connsiteX44" fmla="*/ 173358 w 332376"/>
                <a:gd name="connsiteY44" fmla="*/ 188733 h 329572"/>
                <a:gd name="connsiteX45" fmla="*/ 167364 w 332376"/>
                <a:gd name="connsiteY45" fmla="*/ 154566 h 329572"/>
                <a:gd name="connsiteX46" fmla="*/ 140846 w 332376"/>
                <a:gd name="connsiteY46" fmla="*/ 145425 h 329572"/>
                <a:gd name="connsiteX47" fmla="*/ 97538 w 332376"/>
                <a:gd name="connsiteY47" fmla="*/ 188733 h 329572"/>
                <a:gd name="connsiteX48" fmla="*/ 140846 w 332376"/>
                <a:gd name="connsiteY48" fmla="*/ 232038 h 329572"/>
                <a:gd name="connsiteX49" fmla="*/ 184154 w 332376"/>
                <a:gd name="connsiteY49" fmla="*/ 188733 h 329572"/>
                <a:gd name="connsiteX50" fmla="*/ 175000 w 332376"/>
                <a:gd name="connsiteY50" fmla="*/ 162201 h 329572"/>
                <a:gd name="connsiteX51" fmla="*/ 208840 w 332376"/>
                <a:gd name="connsiteY51" fmla="*/ 128358 h 329572"/>
                <a:gd name="connsiteX52" fmla="*/ 231847 w 332376"/>
                <a:gd name="connsiteY52" fmla="*/ 188751 h 329572"/>
                <a:gd name="connsiteX53" fmla="*/ 140843 w 332376"/>
                <a:gd name="connsiteY53" fmla="*/ 279727 h 329572"/>
                <a:gd name="connsiteX54" fmla="*/ 49867 w 332376"/>
                <a:gd name="connsiteY54" fmla="*/ 188751 h 329572"/>
                <a:gd name="connsiteX55" fmla="*/ 140843 w 332376"/>
                <a:gd name="connsiteY55" fmla="*/ 97747 h 329572"/>
                <a:gd name="connsiteX56" fmla="*/ 201204 w 332376"/>
                <a:gd name="connsiteY56" fmla="*/ 120726 h 329572"/>
                <a:gd name="connsiteX57" fmla="*/ 167364 w 332376"/>
                <a:gd name="connsiteY57" fmla="*/ 154566 h 329572"/>
                <a:gd name="connsiteX58" fmla="*/ 286592 w 332376"/>
                <a:gd name="connsiteY58" fmla="*/ 74757 h 329572"/>
                <a:gd name="connsiteX59" fmla="*/ 262994 w 332376"/>
                <a:gd name="connsiteY59" fmla="*/ 74206 h 329572"/>
                <a:gd name="connsiteX60" fmla="*/ 280105 w 332376"/>
                <a:gd name="connsiteY60" fmla="*/ 57096 h 329572"/>
                <a:gd name="connsiteX61" fmla="*/ 280105 w 332376"/>
                <a:gd name="connsiteY61" fmla="*/ 49460 h 329572"/>
                <a:gd name="connsiteX62" fmla="*/ 272470 w 332376"/>
                <a:gd name="connsiteY62" fmla="*/ 49460 h 329572"/>
                <a:gd name="connsiteX63" fmla="*/ 257018 w 332376"/>
                <a:gd name="connsiteY63" fmla="*/ 64911 h 329572"/>
                <a:gd name="connsiteX64" fmla="*/ 257512 w 332376"/>
                <a:gd name="connsiteY64" fmla="*/ 44301 h 329572"/>
                <a:gd name="connsiteX65" fmla="*/ 275036 w 332376"/>
                <a:gd name="connsiteY65" fmla="*/ 27579 h 329572"/>
                <a:gd name="connsiteX66" fmla="*/ 275040 w 332376"/>
                <a:gd name="connsiteY66" fmla="*/ 27576 h 329572"/>
                <a:gd name="connsiteX67" fmla="*/ 284728 w 332376"/>
                <a:gd name="connsiteY67" fmla="*/ 18316 h 329572"/>
                <a:gd name="connsiteX68" fmla="*/ 284177 w 332376"/>
                <a:gd name="connsiteY68" fmla="*/ 42688 h 329572"/>
                <a:gd name="connsiteX69" fmla="*/ 289451 w 332376"/>
                <a:gd name="connsiteY69" fmla="*/ 48207 h 329572"/>
                <a:gd name="connsiteX70" fmla="*/ 313816 w 332376"/>
                <a:gd name="connsiteY70" fmla="*/ 48776 h 329572"/>
                <a:gd name="connsiteX71" fmla="*/ 286592 w 332376"/>
                <a:gd name="connsiteY71" fmla="*/ 74757 h 3295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</a:cxnLst>
              <a:rect l="l" t="t" r="r" b="b"/>
              <a:pathLst>
                <a:path w="332376" h="329572">
                  <a:moveTo>
                    <a:pt x="332010" y="41731"/>
                  </a:moveTo>
                  <a:cubicBezTo>
                    <a:pt x="331222" y="39693"/>
                    <a:pt x="329285" y="38332"/>
                    <a:pt x="327103" y="38282"/>
                  </a:cubicBezTo>
                  <a:lnTo>
                    <a:pt x="295099" y="37533"/>
                  </a:lnTo>
                  <a:lnTo>
                    <a:pt x="295823" y="5522"/>
                  </a:lnTo>
                  <a:cubicBezTo>
                    <a:pt x="295873" y="3340"/>
                    <a:pt x="294599" y="1339"/>
                    <a:pt x="292601" y="460"/>
                  </a:cubicBezTo>
                  <a:cubicBezTo>
                    <a:pt x="290599" y="-422"/>
                    <a:pt x="288270" y="-15"/>
                    <a:pt x="286690" y="1497"/>
                  </a:cubicBezTo>
                  <a:lnTo>
                    <a:pt x="248447" y="38026"/>
                  </a:lnTo>
                  <a:cubicBezTo>
                    <a:pt x="247410" y="39013"/>
                    <a:pt x="246809" y="40374"/>
                    <a:pt x="246773" y="41803"/>
                  </a:cubicBezTo>
                  <a:lnTo>
                    <a:pt x="245952" y="75981"/>
                  </a:lnTo>
                  <a:lnTo>
                    <a:pt x="236480" y="85453"/>
                  </a:lnTo>
                  <a:cubicBezTo>
                    <a:pt x="211345" y="62154"/>
                    <a:pt x="177736" y="47876"/>
                    <a:pt x="140846" y="47876"/>
                  </a:cubicBezTo>
                  <a:cubicBezTo>
                    <a:pt x="63184" y="47876"/>
                    <a:pt x="0" y="111074"/>
                    <a:pt x="0" y="188751"/>
                  </a:cubicBezTo>
                  <a:cubicBezTo>
                    <a:pt x="0" y="266400"/>
                    <a:pt x="63184" y="329572"/>
                    <a:pt x="140846" y="329572"/>
                  </a:cubicBezTo>
                  <a:cubicBezTo>
                    <a:pt x="218509" y="329572"/>
                    <a:pt x="281693" y="266400"/>
                    <a:pt x="281693" y="188751"/>
                  </a:cubicBezTo>
                  <a:cubicBezTo>
                    <a:pt x="281693" y="151848"/>
                    <a:pt x="267415" y="118231"/>
                    <a:pt x="244116" y="93088"/>
                  </a:cubicBezTo>
                  <a:lnTo>
                    <a:pt x="252443" y="84762"/>
                  </a:lnTo>
                  <a:lnTo>
                    <a:pt x="288580" y="85604"/>
                  </a:lnTo>
                  <a:cubicBezTo>
                    <a:pt x="288623" y="85604"/>
                    <a:pt x="288662" y="85604"/>
                    <a:pt x="288706" y="85604"/>
                  </a:cubicBezTo>
                  <a:cubicBezTo>
                    <a:pt x="290092" y="85604"/>
                    <a:pt x="291427" y="85071"/>
                    <a:pt x="292432" y="84110"/>
                  </a:cubicBezTo>
                  <a:lnTo>
                    <a:pt x="330703" y="47588"/>
                  </a:lnTo>
                  <a:cubicBezTo>
                    <a:pt x="332287" y="46080"/>
                    <a:pt x="332802" y="43768"/>
                    <a:pt x="332010" y="41731"/>
                  </a:cubicBezTo>
                  <a:close/>
                  <a:moveTo>
                    <a:pt x="270889" y="188751"/>
                  </a:moveTo>
                  <a:cubicBezTo>
                    <a:pt x="270889" y="260445"/>
                    <a:pt x="212551" y="318772"/>
                    <a:pt x="140843" y="318772"/>
                  </a:cubicBezTo>
                  <a:cubicBezTo>
                    <a:pt x="69134" y="318772"/>
                    <a:pt x="10796" y="260445"/>
                    <a:pt x="10796" y="188751"/>
                  </a:cubicBezTo>
                  <a:cubicBezTo>
                    <a:pt x="10796" y="117028"/>
                    <a:pt x="69134" y="58676"/>
                    <a:pt x="140843" y="58676"/>
                  </a:cubicBezTo>
                  <a:cubicBezTo>
                    <a:pt x="174758" y="58676"/>
                    <a:pt x="205668" y="71740"/>
                    <a:pt x="228845" y="93085"/>
                  </a:cubicBezTo>
                  <a:lnTo>
                    <a:pt x="208858" y="113072"/>
                  </a:lnTo>
                  <a:cubicBezTo>
                    <a:pt x="190814" y="96843"/>
                    <a:pt x="166968" y="86943"/>
                    <a:pt x="140846" y="86943"/>
                  </a:cubicBezTo>
                  <a:cubicBezTo>
                    <a:pt x="84726" y="86943"/>
                    <a:pt x="39071" y="132613"/>
                    <a:pt x="39071" y="188748"/>
                  </a:cubicBezTo>
                  <a:cubicBezTo>
                    <a:pt x="39071" y="244868"/>
                    <a:pt x="84726" y="290523"/>
                    <a:pt x="140846" y="290523"/>
                  </a:cubicBezTo>
                  <a:cubicBezTo>
                    <a:pt x="196985" y="290523"/>
                    <a:pt x="242651" y="244868"/>
                    <a:pt x="242651" y="188748"/>
                  </a:cubicBezTo>
                  <a:cubicBezTo>
                    <a:pt x="242651" y="162612"/>
                    <a:pt x="232744" y="138751"/>
                    <a:pt x="216493" y="120704"/>
                  </a:cubicBezTo>
                  <a:lnTo>
                    <a:pt x="236477" y="100720"/>
                  </a:lnTo>
                  <a:cubicBezTo>
                    <a:pt x="257825" y="123904"/>
                    <a:pt x="270889" y="154828"/>
                    <a:pt x="270889" y="188751"/>
                  </a:cubicBezTo>
                  <a:close/>
                  <a:moveTo>
                    <a:pt x="173358" y="188733"/>
                  </a:moveTo>
                  <a:cubicBezTo>
                    <a:pt x="173358" y="206658"/>
                    <a:pt x="158774" y="221238"/>
                    <a:pt x="140850" y="221238"/>
                  </a:cubicBezTo>
                  <a:cubicBezTo>
                    <a:pt x="122926" y="221238"/>
                    <a:pt x="108342" y="206654"/>
                    <a:pt x="108342" y="188733"/>
                  </a:cubicBezTo>
                  <a:cubicBezTo>
                    <a:pt x="108342" y="170809"/>
                    <a:pt x="122926" y="156225"/>
                    <a:pt x="140850" y="156225"/>
                  </a:cubicBezTo>
                  <a:cubicBezTo>
                    <a:pt x="147863" y="156225"/>
                    <a:pt x="154346" y="158479"/>
                    <a:pt x="159664" y="162270"/>
                  </a:cubicBezTo>
                  <a:lnTo>
                    <a:pt x="137023" y="184910"/>
                  </a:lnTo>
                  <a:cubicBezTo>
                    <a:pt x="134914" y="187020"/>
                    <a:pt x="134914" y="190436"/>
                    <a:pt x="137023" y="192546"/>
                  </a:cubicBezTo>
                  <a:cubicBezTo>
                    <a:pt x="138078" y="193600"/>
                    <a:pt x="139460" y="194126"/>
                    <a:pt x="140843" y="194126"/>
                  </a:cubicBezTo>
                  <a:cubicBezTo>
                    <a:pt x="142225" y="194126"/>
                    <a:pt x="143608" y="193600"/>
                    <a:pt x="144662" y="192546"/>
                  </a:cubicBezTo>
                  <a:lnTo>
                    <a:pt x="167303" y="169905"/>
                  </a:lnTo>
                  <a:cubicBezTo>
                    <a:pt x="171097" y="175226"/>
                    <a:pt x="173358" y="181713"/>
                    <a:pt x="173358" y="188733"/>
                  </a:cubicBezTo>
                  <a:close/>
                  <a:moveTo>
                    <a:pt x="167364" y="154566"/>
                  </a:moveTo>
                  <a:cubicBezTo>
                    <a:pt x="160027" y="148860"/>
                    <a:pt x="150840" y="145425"/>
                    <a:pt x="140846" y="145425"/>
                  </a:cubicBezTo>
                  <a:cubicBezTo>
                    <a:pt x="116968" y="145425"/>
                    <a:pt x="97538" y="164854"/>
                    <a:pt x="97538" y="188733"/>
                  </a:cubicBezTo>
                  <a:cubicBezTo>
                    <a:pt x="97538" y="212612"/>
                    <a:pt x="116964" y="232038"/>
                    <a:pt x="140846" y="232038"/>
                  </a:cubicBezTo>
                  <a:cubicBezTo>
                    <a:pt x="164729" y="232038"/>
                    <a:pt x="184154" y="212612"/>
                    <a:pt x="184154" y="188733"/>
                  </a:cubicBezTo>
                  <a:cubicBezTo>
                    <a:pt x="184154" y="178732"/>
                    <a:pt x="180713" y="169538"/>
                    <a:pt x="175000" y="162201"/>
                  </a:cubicBezTo>
                  <a:lnTo>
                    <a:pt x="208840" y="128358"/>
                  </a:lnTo>
                  <a:cubicBezTo>
                    <a:pt x="223139" y="144439"/>
                    <a:pt x="231847" y="165592"/>
                    <a:pt x="231847" y="188751"/>
                  </a:cubicBezTo>
                  <a:cubicBezTo>
                    <a:pt x="231847" y="238917"/>
                    <a:pt x="191023" y="279727"/>
                    <a:pt x="140843" y="279727"/>
                  </a:cubicBezTo>
                  <a:cubicBezTo>
                    <a:pt x="90677" y="279727"/>
                    <a:pt x="49867" y="238917"/>
                    <a:pt x="49867" y="188751"/>
                  </a:cubicBezTo>
                  <a:cubicBezTo>
                    <a:pt x="49867" y="138571"/>
                    <a:pt x="90677" y="97747"/>
                    <a:pt x="140843" y="97747"/>
                  </a:cubicBezTo>
                  <a:cubicBezTo>
                    <a:pt x="163987" y="97747"/>
                    <a:pt x="185126" y="106444"/>
                    <a:pt x="201204" y="120726"/>
                  </a:cubicBezTo>
                  <a:lnTo>
                    <a:pt x="167364" y="154566"/>
                  </a:lnTo>
                  <a:close/>
                  <a:moveTo>
                    <a:pt x="286592" y="74757"/>
                  </a:moveTo>
                  <a:lnTo>
                    <a:pt x="262994" y="74206"/>
                  </a:lnTo>
                  <a:lnTo>
                    <a:pt x="280105" y="57096"/>
                  </a:lnTo>
                  <a:cubicBezTo>
                    <a:pt x="282215" y="54986"/>
                    <a:pt x="282215" y="51566"/>
                    <a:pt x="280105" y="49460"/>
                  </a:cubicBezTo>
                  <a:cubicBezTo>
                    <a:pt x="277996" y="47350"/>
                    <a:pt x="274579" y="47350"/>
                    <a:pt x="272470" y="49460"/>
                  </a:cubicBezTo>
                  <a:lnTo>
                    <a:pt x="257018" y="64911"/>
                  </a:lnTo>
                  <a:lnTo>
                    <a:pt x="257512" y="44301"/>
                  </a:lnTo>
                  <a:lnTo>
                    <a:pt x="275036" y="27579"/>
                  </a:lnTo>
                  <a:cubicBezTo>
                    <a:pt x="275040" y="27579"/>
                    <a:pt x="275040" y="27576"/>
                    <a:pt x="275040" y="27576"/>
                  </a:cubicBezTo>
                  <a:lnTo>
                    <a:pt x="284728" y="18316"/>
                  </a:lnTo>
                  <a:lnTo>
                    <a:pt x="284177" y="42688"/>
                  </a:lnTo>
                  <a:cubicBezTo>
                    <a:pt x="284108" y="45669"/>
                    <a:pt x="286474" y="48139"/>
                    <a:pt x="289451" y="48207"/>
                  </a:cubicBezTo>
                  <a:lnTo>
                    <a:pt x="313816" y="48776"/>
                  </a:lnTo>
                  <a:lnTo>
                    <a:pt x="286592" y="74757"/>
                  </a:lnTo>
                  <a:close/>
                </a:path>
              </a:pathLst>
            </a:custGeom>
            <a:solidFill>
              <a:srgbClr val="000000"/>
            </a:solidFill>
            <a:ln w="3524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5" name="Скругленный прямоугольник 14"/>
          <p:cNvSpPr/>
          <p:nvPr/>
        </p:nvSpPr>
        <p:spPr>
          <a:xfrm>
            <a:off x="822291" y="4825808"/>
            <a:ext cx="5043253" cy="1710360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46800" bIns="46800" rtlCol="0" anchor="t"/>
          <a:lstStyle/>
          <a:p>
            <a:pPr algn="l"/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93492" y="4909369"/>
            <a:ext cx="2601151" cy="172354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r>
              <a:rPr lang="ru-RU" sz="1400" dirty="0" smtClean="0"/>
              <a:t>Тематика проектов:</a:t>
            </a:r>
          </a:p>
          <a:p>
            <a:pPr marL="108000" lvl="0" indent="-108000">
              <a:buFont typeface="Arial" panose="020B0604020202020204" pitchFamily="34" charset="0"/>
              <a:buChar char="•"/>
            </a:pPr>
            <a:r>
              <a:rPr lang="ru-RU" sz="1400" dirty="0" smtClean="0"/>
              <a:t>Энергетика</a:t>
            </a:r>
          </a:p>
          <a:p>
            <a:pPr marL="108000" lvl="0" indent="-108000">
              <a:buFont typeface="Arial" panose="020B0604020202020204" pitchFamily="34" charset="0"/>
              <a:buChar char="•"/>
            </a:pPr>
            <a:r>
              <a:rPr lang="ru-RU" sz="1400" dirty="0" smtClean="0"/>
              <a:t>Экология</a:t>
            </a:r>
          </a:p>
          <a:p>
            <a:pPr marL="108000" lvl="0" indent="-108000">
              <a:buFont typeface="Arial" panose="020B0604020202020204" pitchFamily="34" charset="0"/>
              <a:buChar char="•"/>
            </a:pPr>
            <a:r>
              <a:rPr lang="ru-RU" sz="1400" dirty="0" smtClean="0"/>
              <a:t>ИТ</a:t>
            </a:r>
          </a:p>
          <a:p>
            <a:pPr marL="108000" lvl="0" indent="-108000">
              <a:buFont typeface="Arial" panose="020B0604020202020204" pitchFamily="34" charset="0"/>
              <a:buChar char="•"/>
            </a:pPr>
            <a:r>
              <a:rPr lang="ru-RU" sz="1400" dirty="0" smtClean="0"/>
              <a:t>Автоматизация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400" dirty="0" smtClean="0"/>
              <a:t>Х</a:t>
            </a:r>
            <a:r>
              <a:rPr lang="ru-RU" sz="1400" dirty="0" smtClean="0">
                <a:solidFill>
                  <a:schemeClr val="tx1"/>
                </a:solidFill>
              </a:rPr>
              <a:t>имия</a:t>
            </a:r>
          </a:p>
          <a:p>
            <a:pPr marL="108000" indent="-108000">
              <a:buFont typeface="Arial" panose="020B0604020202020204" pitchFamily="34" charset="0"/>
              <a:buChar char="•"/>
            </a:pPr>
            <a:r>
              <a:rPr lang="ru-RU" sz="1400" dirty="0" smtClean="0"/>
              <a:t>Развитие </a:t>
            </a:r>
            <a:r>
              <a:rPr lang="ru-RU" sz="1400" dirty="0"/>
              <a:t>территорий</a:t>
            </a:r>
          </a:p>
          <a:p>
            <a:pPr marL="108000" lvl="0" indent="-108000">
              <a:buFont typeface="Arial" panose="020B0604020202020204" pitchFamily="34" charset="0"/>
              <a:buChar char="•"/>
            </a:pPr>
            <a:endParaRPr lang="ru-RU" sz="1400" dirty="0">
              <a:solidFill>
                <a:schemeClr val="tx1"/>
              </a:solidFill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59D1320C-59EB-40B1-A97B-883309CF111D}"/>
              </a:ext>
            </a:extLst>
          </p:cNvPr>
          <p:cNvGrpSpPr/>
          <p:nvPr/>
        </p:nvGrpSpPr>
        <p:grpSpPr>
          <a:xfrm>
            <a:off x="966946" y="5047370"/>
            <a:ext cx="550305" cy="550305"/>
            <a:chOff x="9928924" y="1341437"/>
            <a:chExt cx="550305" cy="550305"/>
          </a:xfrm>
        </p:grpSpPr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690A40B8-6005-4DD6-939D-92EE8B4A2FD3}"/>
                </a:ext>
              </a:extLst>
            </p:cNvPr>
            <p:cNvSpPr/>
            <p:nvPr/>
          </p:nvSpPr>
          <p:spPr>
            <a:xfrm>
              <a:off x="9928924" y="1341437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19" name="Рисунок 67">
              <a:extLst>
                <a:ext uri="{FF2B5EF4-FFF2-40B4-BE49-F238E27FC236}">
                  <a16:creationId xmlns:a16="http://schemas.microsoft.com/office/drawing/2014/main" id="{7477A5FB-A828-4528-ACA6-F314577CC964}"/>
                </a:ext>
              </a:extLst>
            </p:cNvPr>
            <p:cNvGrpSpPr/>
            <p:nvPr/>
          </p:nvGrpSpPr>
          <p:grpSpPr>
            <a:xfrm>
              <a:off x="10040279" y="1449189"/>
              <a:ext cx="331192" cy="331200"/>
              <a:chOff x="10040279" y="1449189"/>
              <a:chExt cx="331192" cy="331200"/>
            </a:xfrm>
            <a:solidFill>
              <a:srgbClr val="000000"/>
            </a:solidFill>
          </p:grpSpPr>
          <p:sp>
            <p:nvSpPr>
              <p:cNvPr id="20" name="Рисунок 67">
                <a:extLst>
                  <a:ext uri="{FF2B5EF4-FFF2-40B4-BE49-F238E27FC236}">
                    <a16:creationId xmlns:a16="http://schemas.microsoft.com/office/drawing/2014/main" id="{EA9A1EE0-BC4F-43BE-816F-5E2A82D75197}"/>
                  </a:ext>
                </a:extLst>
              </p:cNvPr>
              <p:cNvSpPr/>
              <p:nvPr/>
            </p:nvSpPr>
            <p:spPr>
              <a:xfrm>
                <a:off x="10137476" y="1546389"/>
                <a:ext cx="133200" cy="133200"/>
              </a:xfrm>
              <a:custGeom>
                <a:avLst/>
                <a:gdLst>
                  <a:gd name="connsiteX0" fmla="*/ 66600 w 133200"/>
                  <a:gd name="connsiteY0" fmla="*/ 0 h 133200"/>
                  <a:gd name="connsiteX1" fmla="*/ 0 w 133200"/>
                  <a:gd name="connsiteY1" fmla="*/ 66600 h 133200"/>
                  <a:gd name="connsiteX2" fmla="*/ 66600 w 133200"/>
                  <a:gd name="connsiteY2" fmla="*/ 133200 h 133200"/>
                  <a:gd name="connsiteX3" fmla="*/ 133200 w 133200"/>
                  <a:gd name="connsiteY3" fmla="*/ 66600 h 133200"/>
                  <a:gd name="connsiteX4" fmla="*/ 66600 w 133200"/>
                  <a:gd name="connsiteY4" fmla="*/ 0 h 133200"/>
                  <a:gd name="connsiteX5" fmla="*/ 66600 w 133200"/>
                  <a:gd name="connsiteY5" fmla="*/ 122400 h 133200"/>
                  <a:gd name="connsiteX6" fmla="*/ 10800 w 133200"/>
                  <a:gd name="connsiteY6" fmla="*/ 66600 h 133200"/>
                  <a:gd name="connsiteX7" fmla="*/ 66600 w 133200"/>
                  <a:gd name="connsiteY7" fmla="*/ 10800 h 133200"/>
                  <a:gd name="connsiteX8" fmla="*/ 122400 w 133200"/>
                  <a:gd name="connsiteY8" fmla="*/ 66600 h 133200"/>
                  <a:gd name="connsiteX9" fmla="*/ 66600 w 133200"/>
                  <a:gd name="connsiteY9" fmla="*/ 122400 h 133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200" h="133200">
                    <a:moveTo>
                      <a:pt x="66600" y="0"/>
                    </a:moveTo>
                    <a:cubicBezTo>
                      <a:pt x="29876" y="0"/>
                      <a:pt x="0" y="29876"/>
                      <a:pt x="0" y="66600"/>
                    </a:cubicBezTo>
                    <a:cubicBezTo>
                      <a:pt x="0" y="103324"/>
                      <a:pt x="29876" y="133200"/>
                      <a:pt x="66600" y="133200"/>
                    </a:cubicBezTo>
                    <a:cubicBezTo>
                      <a:pt x="103324" y="133200"/>
                      <a:pt x="133200" y="103324"/>
                      <a:pt x="133200" y="66600"/>
                    </a:cubicBezTo>
                    <a:cubicBezTo>
                      <a:pt x="133200" y="29876"/>
                      <a:pt x="103324" y="0"/>
                      <a:pt x="66600" y="0"/>
                    </a:cubicBezTo>
                    <a:close/>
                    <a:moveTo>
                      <a:pt x="66600" y="122400"/>
                    </a:moveTo>
                    <a:cubicBezTo>
                      <a:pt x="35831" y="122400"/>
                      <a:pt x="10800" y="97369"/>
                      <a:pt x="10800" y="66600"/>
                    </a:cubicBezTo>
                    <a:cubicBezTo>
                      <a:pt x="10800" y="35831"/>
                      <a:pt x="35831" y="10800"/>
                      <a:pt x="66600" y="10800"/>
                    </a:cubicBezTo>
                    <a:cubicBezTo>
                      <a:pt x="97369" y="10800"/>
                      <a:pt x="122400" y="35831"/>
                      <a:pt x="122400" y="66600"/>
                    </a:cubicBezTo>
                    <a:cubicBezTo>
                      <a:pt x="122400" y="97369"/>
                      <a:pt x="97369" y="122400"/>
                      <a:pt x="66600" y="122400"/>
                    </a:cubicBez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1" name="Рисунок 67">
                <a:extLst>
                  <a:ext uri="{FF2B5EF4-FFF2-40B4-BE49-F238E27FC236}">
                    <a16:creationId xmlns:a16="http://schemas.microsoft.com/office/drawing/2014/main" id="{D2EF4490-E1C8-4F9A-8D7E-0475D09CC5E6}"/>
                  </a:ext>
                </a:extLst>
              </p:cNvPr>
              <p:cNvSpPr/>
              <p:nvPr/>
            </p:nvSpPr>
            <p:spPr>
              <a:xfrm>
                <a:off x="10040279" y="1449189"/>
                <a:ext cx="331192" cy="331200"/>
              </a:xfrm>
              <a:custGeom>
                <a:avLst/>
                <a:gdLst>
                  <a:gd name="connsiteX0" fmla="*/ 326606 w 331192"/>
                  <a:gd name="connsiteY0" fmla="*/ 136804 h 331200"/>
                  <a:gd name="connsiteX1" fmla="*/ 283522 w 331192"/>
                  <a:gd name="connsiteY1" fmla="*/ 130284 h 331200"/>
                  <a:gd name="connsiteX2" fmla="*/ 273978 w 331192"/>
                  <a:gd name="connsiteY2" fmla="*/ 107154 h 331200"/>
                  <a:gd name="connsiteX3" fmla="*/ 299812 w 331192"/>
                  <a:gd name="connsiteY3" fmla="*/ 72115 h 331200"/>
                  <a:gd name="connsiteX4" fmla="*/ 299286 w 331192"/>
                  <a:gd name="connsiteY4" fmla="*/ 65092 h 331200"/>
                  <a:gd name="connsiteX5" fmla="*/ 266108 w 331192"/>
                  <a:gd name="connsiteY5" fmla="*/ 31918 h 331200"/>
                  <a:gd name="connsiteX6" fmla="*/ 259085 w 331192"/>
                  <a:gd name="connsiteY6" fmla="*/ 31388 h 331200"/>
                  <a:gd name="connsiteX7" fmla="*/ 224158 w 331192"/>
                  <a:gd name="connsiteY7" fmla="*/ 57136 h 331200"/>
                  <a:gd name="connsiteX8" fmla="*/ 200880 w 331192"/>
                  <a:gd name="connsiteY8" fmla="*/ 47448 h 331200"/>
                  <a:gd name="connsiteX9" fmla="*/ 194396 w 331192"/>
                  <a:gd name="connsiteY9" fmla="*/ 4594 h 331200"/>
                  <a:gd name="connsiteX10" fmla="*/ 189058 w 331192"/>
                  <a:gd name="connsiteY10" fmla="*/ 0 h 331200"/>
                  <a:gd name="connsiteX11" fmla="*/ 142142 w 331192"/>
                  <a:gd name="connsiteY11" fmla="*/ 0 h 331200"/>
                  <a:gd name="connsiteX12" fmla="*/ 136804 w 331192"/>
                  <a:gd name="connsiteY12" fmla="*/ 4594 h 331200"/>
                  <a:gd name="connsiteX13" fmla="*/ 130320 w 331192"/>
                  <a:gd name="connsiteY13" fmla="*/ 47448 h 331200"/>
                  <a:gd name="connsiteX14" fmla="*/ 107042 w 331192"/>
                  <a:gd name="connsiteY14" fmla="*/ 57136 h 331200"/>
                  <a:gd name="connsiteX15" fmla="*/ 72115 w 331192"/>
                  <a:gd name="connsiteY15" fmla="*/ 31388 h 331200"/>
                  <a:gd name="connsiteX16" fmla="*/ 65092 w 331192"/>
                  <a:gd name="connsiteY16" fmla="*/ 31918 h 331200"/>
                  <a:gd name="connsiteX17" fmla="*/ 31918 w 331192"/>
                  <a:gd name="connsiteY17" fmla="*/ 65092 h 331200"/>
                  <a:gd name="connsiteX18" fmla="*/ 31388 w 331192"/>
                  <a:gd name="connsiteY18" fmla="*/ 72115 h 331200"/>
                  <a:gd name="connsiteX19" fmla="*/ 57222 w 331192"/>
                  <a:gd name="connsiteY19" fmla="*/ 107154 h 331200"/>
                  <a:gd name="connsiteX20" fmla="*/ 47678 w 331192"/>
                  <a:gd name="connsiteY20" fmla="*/ 130284 h 331200"/>
                  <a:gd name="connsiteX21" fmla="*/ 4594 w 331192"/>
                  <a:gd name="connsiteY21" fmla="*/ 136804 h 331200"/>
                  <a:gd name="connsiteX22" fmla="*/ 0 w 331192"/>
                  <a:gd name="connsiteY22" fmla="*/ 142142 h 331200"/>
                  <a:gd name="connsiteX23" fmla="*/ 0 w 331192"/>
                  <a:gd name="connsiteY23" fmla="*/ 189058 h 331200"/>
                  <a:gd name="connsiteX24" fmla="*/ 4590 w 331192"/>
                  <a:gd name="connsiteY24" fmla="*/ 194396 h 331200"/>
                  <a:gd name="connsiteX25" fmla="*/ 47887 w 331192"/>
                  <a:gd name="connsiteY25" fmla="*/ 200948 h 331200"/>
                  <a:gd name="connsiteX26" fmla="*/ 57416 w 331192"/>
                  <a:gd name="connsiteY26" fmla="*/ 223776 h 331200"/>
                  <a:gd name="connsiteX27" fmla="*/ 31385 w 331192"/>
                  <a:gd name="connsiteY27" fmla="*/ 259085 h 331200"/>
                  <a:gd name="connsiteX28" fmla="*/ 31914 w 331192"/>
                  <a:gd name="connsiteY28" fmla="*/ 266108 h 331200"/>
                  <a:gd name="connsiteX29" fmla="*/ 65088 w 331192"/>
                  <a:gd name="connsiteY29" fmla="*/ 299282 h 331200"/>
                  <a:gd name="connsiteX30" fmla="*/ 72112 w 331192"/>
                  <a:gd name="connsiteY30" fmla="*/ 299812 h 331200"/>
                  <a:gd name="connsiteX31" fmla="*/ 107536 w 331192"/>
                  <a:gd name="connsiteY31" fmla="*/ 273697 h 331200"/>
                  <a:gd name="connsiteX32" fmla="*/ 130216 w 331192"/>
                  <a:gd name="connsiteY32" fmla="*/ 283082 h 331200"/>
                  <a:gd name="connsiteX33" fmla="*/ 136800 w 331192"/>
                  <a:gd name="connsiteY33" fmla="*/ 326606 h 331200"/>
                  <a:gd name="connsiteX34" fmla="*/ 142139 w 331192"/>
                  <a:gd name="connsiteY34" fmla="*/ 331200 h 331200"/>
                  <a:gd name="connsiteX35" fmla="*/ 189054 w 331192"/>
                  <a:gd name="connsiteY35" fmla="*/ 331200 h 331200"/>
                  <a:gd name="connsiteX36" fmla="*/ 194393 w 331192"/>
                  <a:gd name="connsiteY36" fmla="*/ 326606 h 331200"/>
                  <a:gd name="connsiteX37" fmla="*/ 200977 w 331192"/>
                  <a:gd name="connsiteY37" fmla="*/ 283082 h 331200"/>
                  <a:gd name="connsiteX38" fmla="*/ 223657 w 331192"/>
                  <a:gd name="connsiteY38" fmla="*/ 273697 h 331200"/>
                  <a:gd name="connsiteX39" fmla="*/ 259081 w 331192"/>
                  <a:gd name="connsiteY39" fmla="*/ 299812 h 331200"/>
                  <a:gd name="connsiteX40" fmla="*/ 266105 w 331192"/>
                  <a:gd name="connsiteY40" fmla="*/ 299282 h 331200"/>
                  <a:gd name="connsiteX41" fmla="*/ 299282 w 331192"/>
                  <a:gd name="connsiteY41" fmla="*/ 266108 h 331200"/>
                  <a:gd name="connsiteX42" fmla="*/ 299808 w 331192"/>
                  <a:gd name="connsiteY42" fmla="*/ 259085 h 331200"/>
                  <a:gd name="connsiteX43" fmla="*/ 273776 w 331192"/>
                  <a:gd name="connsiteY43" fmla="*/ 223776 h 331200"/>
                  <a:gd name="connsiteX44" fmla="*/ 283306 w 331192"/>
                  <a:gd name="connsiteY44" fmla="*/ 200948 h 331200"/>
                  <a:gd name="connsiteX45" fmla="*/ 326603 w 331192"/>
                  <a:gd name="connsiteY45" fmla="*/ 194396 h 331200"/>
                  <a:gd name="connsiteX46" fmla="*/ 331193 w 331192"/>
                  <a:gd name="connsiteY46" fmla="*/ 189058 h 331200"/>
                  <a:gd name="connsiteX47" fmla="*/ 331193 w 331192"/>
                  <a:gd name="connsiteY47" fmla="*/ 142142 h 331200"/>
                  <a:gd name="connsiteX48" fmla="*/ 326606 w 331192"/>
                  <a:gd name="connsiteY48" fmla="*/ 136804 h 331200"/>
                  <a:gd name="connsiteX49" fmla="*/ 320396 w 331192"/>
                  <a:gd name="connsiteY49" fmla="*/ 184414 h 331200"/>
                  <a:gd name="connsiteX50" fmla="*/ 278266 w 331192"/>
                  <a:gd name="connsiteY50" fmla="*/ 190789 h 331200"/>
                  <a:gd name="connsiteX51" fmla="*/ 273859 w 331192"/>
                  <a:gd name="connsiteY51" fmla="*/ 194713 h 331200"/>
                  <a:gd name="connsiteX52" fmla="*/ 262688 w 331192"/>
                  <a:gd name="connsiteY52" fmla="*/ 221468 h 331200"/>
                  <a:gd name="connsiteX53" fmla="*/ 263012 w 331192"/>
                  <a:gd name="connsiteY53" fmla="*/ 227383 h 331200"/>
                  <a:gd name="connsiteX54" fmla="*/ 288356 w 331192"/>
                  <a:gd name="connsiteY54" fmla="*/ 261760 h 331200"/>
                  <a:gd name="connsiteX55" fmla="*/ 261749 w 331192"/>
                  <a:gd name="connsiteY55" fmla="*/ 288367 h 331200"/>
                  <a:gd name="connsiteX56" fmla="*/ 227268 w 331192"/>
                  <a:gd name="connsiteY56" fmla="*/ 262948 h 331200"/>
                  <a:gd name="connsiteX57" fmla="*/ 221375 w 331192"/>
                  <a:gd name="connsiteY57" fmla="*/ 262613 h 331200"/>
                  <a:gd name="connsiteX58" fmla="*/ 194753 w 331192"/>
                  <a:gd name="connsiteY58" fmla="*/ 273629 h 331200"/>
                  <a:gd name="connsiteX59" fmla="*/ 190814 w 331192"/>
                  <a:gd name="connsiteY59" fmla="*/ 278039 h 331200"/>
                  <a:gd name="connsiteX60" fmla="*/ 184406 w 331192"/>
                  <a:gd name="connsiteY60" fmla="*/ 320407 h 331200"/>
                  <a:gd name="connsiteX61" fmla="*/ 146779 w 331192"/>
                  <a:gd name="connsiteY61" fmla="*/ 320407 h 331200"/>
                  <a:gd name="connsiteX62" fmla="*/ 140371 w 331192"/>
                  <a:gd name="connsiteY62" fmla="*/ 278039 h 331200"/>
                  <a:gd name="connsiteX63" fmla="*/ 136433 w 331192"/>
                  <a:gd name="connsiteY63" fmla="*/ 273629 h 331200"/>
                  <a:gd name="connsiteX64" fmla="*/ 109811 w 331192"/>
                  <a:gd name="connsiteY64" fmla="*/ 262613 h 331200"/>
                  <a:gd name="connsiteX65" fmla="*/ 103918 w 331192"/>
                  <a:gd name="connsiteY65" fmla="*/ 262948 h 331200"/>
                  <a:gd name="connsiteX66" fmla="*/ 69437 w 331192"/>
                  <a:gd name="connsiteY66" fmla="*/ 288367 h 331200"/>
                  <a:gd name="connsiteX67" fmla="*/ 42829 w 331192"/>
                  <a:gd name="connsiteY67" fmla="*/ 261760 h 331200"/>
                  <a:gd name="connsiteX68" fmla="*/ 68173 w 331192"/>
                  <a:gd name="connsiteY68" fmla="*/ 227383 h 331200"/>
                  <a:gd name="connsiteX69" fmla="*/ 68497 w 331192"/>
                  <a:gd name="connsiteY69" fmla="*/ 221468 h 331200"/>
                  <a:gd name="connsiteX70" fmla="*/ 57326 w 331192"/>
                  <a:gd name="connsiteY70" fmla="*/ 194713 h 331200"/>
                  <a:gd name="connsiteX71" fmla="*/ 52920 w 331192"/>
                  <a:gd name="connsiteY71" fmla="*/ 190789 h 331200"/>
                  <a:gd name="connsiteX72" fmla="*/ 10789 w 331192"/>
                  <a:gd name="connsiteY72" fmla="*/ 184414 h 331200"/>
                  <a:gd name="connsiteX73" fmla="*/ 10789 w 331192"/>
                  <a:gd name="connsiteY73" fmla="*/ 146786 h 331200"/>
                  <a:gd name="connsiteX74" fmla="*/ 52729 w 331192"/>
                  <a:gd name="connsiteY74" fmla="*/ 140443 h 331200"/>
                  <a:gd name="connsiteX75" fmla="*/ 57143 w 331192"/>
                  <a:gd name="connsiteY75" fmla="*/ 136487 h 331200"/>
                  <a:gd name="connsiteX76" fmla="*/ 68299 w 331192"/>
                  <a:gd name="connsiteY76" fmla="*/ 109436 h 331200"/>
                  <a:gd name="connsiteX77" fmla="*/ 67964 w 331192"/>
                  <a:gd name="connsiteY77" fmla="*/ 103540 h 331200"/>
                  <a:gd name="connsiteX78" fmla="*/ 42829 w 331192"/>
                  <a:gd name="connsiteY78" fmla="*/ 69444 h 331200"/>
                  <a:gd name="connsiteX79" fmla="*/ 69437 w 331192"/>
                  <a:gd name="connsiteY79" fmla="*/ 42836 h 331200"/>
                  <a:gd name="connsiteX80" fmla="*/ 103432 w 331192"/>
                  <a:gd name="connsiteY80" fmla="*/ 67896 h 331200"/>
                  <a:gd name="connsiteX81" fmla="*/ 109350 w 331192"/>
                  <a:gd name="connsiteY81" fmla="*/ 68216 h 331200"/>
                  <a:gd name="connsiteX82" fmla="*/ 136530 w 331192"/>
                  <a:gd name="connsiteY82" fmla="*/ 56905 h 331200"/>
                  <a:gd name="connsiteX83" fmla="*/ 140472 w 331192"/>
                  <a:gd name="connsiteY83" fmla="*/ 52495 h 331200"/>
                  <a:gd name="connsiteX84" fmla="*/ 146779 w 331192"/>
                  <a:gd name="connsiteY84" fmla="*/ 10796 h 331200"/>
                  <a:gd name="connsiteX85" fmla="*/ 184406 w 331192"/>
                  <a:gd name="connsiteY85" fmla="*/ 10796 h 331200"/>
                  <a:gd name="connsiteX86" fmla="*/ 190714 w 331192"/>
                  <a:gd name="connsiteY86" fmla="*/ 52495 h 331200"/>
                  <a:gd name="connsiteX87" fmla="*/ 194656 w 331192"/>
                  <a:gd name="connsiteY87" fmla="*/ 56905 h 331200"/>
                  <a:gd name="connsiteX88" fmla="*/ 221836 w 331192"/>
                  <a:gd name="connsiteY88" fmla="*/ 68216 h 331200"/>
                  <a:gd name="connsiteX89" fmla="*/ 227754 w 331192"/>
                  <a:gd name="connsiteY89" fmla="*/ 67896 h 331200"/>
                  <a:gd name="connsiteX90" fmla="*/ 261749 w 331192"/>
                  <a:gd name="connsiteY90" fmla="*/ 42836 h 331200"/>
                  <a:gd name="connsiteX91" fmla="*/ 288356 w 331192"/>
                  <a:gd name="connsiteY91" fmla="*/ 69444 h 331200"/>
                  <a:gd name="connsiteX92" fmla="*/ 263221 w 331192"/>
                  <a:gd name="connsiteY92" fmla="*/ 103540 h 331200"/>
                  <a:gd name="connsiteX93" fmla="*/ 262886 w 331192"/>
                  <a:gd name="connsiteY93" fmla="*/ 109436 h 331200"/>
                  <a:gd name="connsiteX94" fmla="*/ 274043 w 331192"/>
                  <a:gd name="connsiteY94" fmla="*/ 136487 h 331200"/>
                  <a:gd name="connsiteX95" fmla="*/ 278456 w 331192"/>
                  <a:gd name="connsiteY95" fmla="*/ 140443 h 331200"/>
                  <a:gd name="connsiteX96" fmla="*/ 320396 w 331192"/>
                  <a:gd name="connsiteY96" fmla="*/ 146786 h 331200"/>
                  <a:gd name="connsiteX97" fmla="*/ 320396 w 331192"/>
                  <a:gd name="connsiteY97" fmla="*/ 184414 h 331200"/>
                  <a:gd name="connsiteX98" fmla="*/ 320396 w 331192"/>
                  <a:gd name="connsiteY98" fmla="*/ 184414 h 331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331192" h="331200">
                    <a:moveTo>
                      <a:pt x="326606" y="136804"/>
                    </a:moveTo>
                    <a:lnTo>
                      <a:pt x="283522" y="130284"/>
                    </a:lnTo>
                    <a:cubicBezTo>
                      <a:pt x="281153" y="122299"/>
                      <a:pt x="277952" y="114545"/>
                      <a:pt x="273978" y="107154"/>
                    </a:cubicBezTo>
                    <a:lnTo>
                      <a:pt x="299812" y="72115"/>
                    </a:lnTo>
                    <a:cubicBezTo>
                      <a:pt x="301396" y="69966"/>
                      <a:pt x="301172" y="66982"/>
                      <a:pt x="299286" y="65092"/>
                    </a:cubicBezTo>
                    <a:lnTo>
                      <a:pt x="266108" y="31918"/>
                    </a:lnTo>
                    <a:cubicBezTo>
                      <a:pt x="264218" y="30031"/>
                      <a:pt x="261234" y="29804"/>
                      <a:pt x="259085" y="31388"/>
                    </a:cubicBezTo>
                    <a:lnTo>
                      <a:pt x="224158" y="57136"/>
                    </a:lnTo>
                    <a:cubicBezTo>
                      <a:pt x="216734" y="53104"/>
                      <a:pt x="208930" y="49856"/>
                      <a:pt x="200880" y="47448"/>
                    </a:cubicBezTo>
                    <a:lnTo>
                      <a:pt x="194396" y="4594"/>
                    </a:lnTo>
                    <a:cubicBezTo>
                      <a:pt x="193997" y="1951"/>
                      <a:pt x="191729" y="0"/>
                      <a:pt x="189058" y="0"/>
                    </a:cubicBezTo>
                    <a:lnTo>
                      <a:pt x="142142" y="0"/>
                    </a:lnTo>
                    <a:cubicBezTo>
                      <a:pt x="139471" y="0"/>
                      <a:pt x="137203" y="1951"/>
                      <a:pt x="136804" y="4594"/>
                    </a:cubicBezTo>
                    <a:lnTo>
                      <a:pt x="130320" y="47448"/>
                    </a:lnTo>
                    <a:cubicBezTo>
                      <a:pt x="122270" y="49856"/>
                      <a:pt x="114466" y="53107"/>
                      <a:pt x="107042" y="57136"/>
                    </a:cubicBezTo>
                    <a:lnTo>
                      <a:pt x="72115" y="31388"/>
                    </a:lnTo>
                    <a:cubicBezTo>
                      <a:pt x="69966" y="29804"/>
                      <a:pt x="66982" y="30028"/>
                      <a:pt x="65092" y="31918"/>
                    </a:cubicBezTo>
                    <a:lnTo>
                      <a:pt x="31918" y="65092"/>
                    </a:lnTo>
                    <a:cubicBezTo>
                      <a:pt x="30031" y="66978"/>
                      <a:pt x="29804" y="69966"/>
                      <a:pt x="31388" y="72115"/>
                    </a:cubicBezTo>
                    <a:lnTo>
                      <a:pt x="57222" y="107154"/>
                    </a:lnTo>
                    <a:cubicBezTo>
                      <a:pt x="53248" y="114545"/>
                      <a:pt x="50047" y="122299"/>
                      <a:pt x="47678" y="130284"/>
                    </a:cubicBezTo>
                    <a:lnTo>
                      <a:pt x="4594" y="136804"/>
                    </a:lnTo>
                    <a:cubicBezTo>
                      <a:pt x="1951" y="137203"/>
                      <a:pt x="0" y="139471"/>
                      <a:pt x="0" y="142142"/>
                    </a:cubicBezTo>
                    <a:lnTo>
                      <a:pt x="0" y="189058"/>
                    </a:lnTo>
                    <a:cubicBezTo>
                      <a:pt x="0" y="191729"/>
                      <a:pt x="1951" y="193997"/>
                      <a:pt x="4590" y="194396"/>
                    </a:cubicBezTo>
                    <a:lnTo>
                      <a:pt x="47887" y="200948"/>
                    </a:lnTo>
                    <a:cubicBezTo>
                      <a:pt x="50281" y="208847"/>
                      <a:pt x="53474" y="216497"/>
                      <a:pt x="57416" y="223776"/>
                    </a:cubicBezTo>
                    <a:lnTo>
                      <a:pt x="31385" y="259085"/>
                    </a:lnTo>
                    <a:cubicBezTo>
                      <a:pt x="29801" y="261234"/>
                      <a:pt x="30028" y="264218"/>
                      <a:pt x="31914" y="266108"/>
                    </a:cubicBezTo>
                    <a:lnTo>
                      <a:pt x="65088" y="299282"/>
                    </a:lnTo>
                    <a:cubicBezTo>
                      <a:pt x="66974" y="301172"/>
                      <a:pt x="69962" y="301396"/>
                      <a:pt x="72112" y="299812"/>
                    </a:cubicBezTo>
                    <a:lnTo>
                      <a:pt x="107536" y="273697"/>
                    </a:lnTo>
                    <a:cubicBezTo>
                      <a:pt x="114779" y="277585"/>
                      <a:pt x="122382" y="280732"/>
                      <a:pt x="130216" y="283082"/>
                    </a:cubicBezTo>
                    <a:lnTo>
                      <a:pt x="136800" y="326606"/>
                    </a:lnTo>
                    <a:cubicBezTo>
                      <a:pt x="137200" y="329249"/>
                      <a:pt x="139468" y="331200"/>
                      <a:pt x="142139" y="331200"/>
                    </a:cubicBezTo>
                    <a:lnTo>
                      <a:pt x="189054" y="331200"/>
                    </a:lnTo>
                    <a:cubicBezTo>
                      <a:pt x="191725" y="331200"/>
                      <a:pt x="193993" y="329249"/>
                      <a:pt x="194393" y="326606"/>
                    </a:cubicBezTo>
                    <a:lnTo>
                      <a:pt x="200977" y="283082"/>
                    </a:lnTo>
                    <a:cubicBezTo>
                      <a:pt x="208811" y="280732"/>
                      <a:pt x="216414" y="277585"/>
                      <a:pt x="223657" y="273697"/>
                    </a:cubicBezTo>
                    <a:lnTo>
                      <a:pt x="259081" y="299812"/>
                    </a:lnTo>
                    <a:cubicBezTo>
                      <a:pt x="261230" y="301396"/>
                      <a:pt x="264215" y="301169"/>
                      <a:pt x="266105" y="299282"/>
                    </a:cubicBezTo>
                    <a:lnTo>
                      <a:pt x="299282" y="266108"/>
                    </a:lnTo>
                    <a:cubicBezTo>
                      <a:pt x="301169" y="264222"/>
                      <a:pt x="301396" y="261234"/>
                      <a:pt x="299808" y="259085"/>
                    </a:cubicBezTo>
                    <a:lnTo>
                      <a:pt x="273776" y="223776"/>
                    </a:lnTo>
                    <a:cubicBezTo>
                      <a:pt x="277722" y="216497"/>
                      <a:pt x="280915" y="208847"/>
                      <a:pt x="283306" y="200948"/>
                    </a:cubicBezTo>
                    <a:lnTo>
                      <a:pt x="326603" y="194396"/>
                    </a:lnTo>
                    <a:cubicBezTo>
                      <a:pt x="329242" y="193997"/>
                      <a:pt x="331193" y="191729"/>
                      <a:pt x="331193" y="189058"/>
                    </a:cubicBezTo>
                    <a:lnTo>
                      <a:pt x="331193" y="142142"/>
                    </a:lnTo>
                    <a:cubicBezTo>
                      <a:pt x="331196" y="139475"/>
                      <a:pt x="329245" y="137203"/>
                      <a:pt x="326606" y="136804"/>
                    </a:cubicBezTo>
                    <a:close/>
                    <a:moveTo>
                      <a:pt x="320396" y="184414"/>
                    </a:moveTo>
                    <a:lnTo>
                      <a:pt x="278266" y="190789"/>
                    </a:lnTo>
                    <a:cubicBezTo>
                      <a:pt x="276149" y="191110"/>
                      <a:pt x="274421" y="192650"/>
                      <a:pt x="273859" y="194713"/>
                    </a:cubicBezTo>
                    <a:cubicBezTo>
                      <a:pt x="271325" y="204055"/>
                      <a:pt x="267566" y="213055"/>
                      <a:pt x="262688" y="221468"/>
                    </a:cubicBezTo>
                    <a:cubicBezTo>
                      <a:pt x="261608" y="223330"/>
                      <a:pt x="261734" y="225652"/>
                      <a:pt x="263012" y="227383"/>
                    </a:cubicBezTo>
                    <a:lnTo>
                      <a:pt x="288356" y="261760"/>
                    </a:lnTo>
                    <a:lnTo>
                      <a:pt x="261749" y="288367"/>
                    </a:lnTo>
                    <a:lnTo>
                      <a:pt x="227268" y="262948"/>
                    </a:lnTo>
                    <a:cubicBezTo>
                      <a:pt x="225540" y="261677"/>
                      <a:pt x="223229" y="261544"/>
                      <a:pt x="221375" y="262613"/>
                    </a:cubicBezTo>
                    <a:cubicBezTo>
                      <a:pt x="212983" y="267433"/>
                      <a:pt x="204030" y="271141"/>
                      <a:pt x="194753" y="273629"/>
                    </a:cubicBezTo>
                    <a:cubicBezTo>
                      <a:pt x="192683" y="274187"/>
                      <a:pt x="191135" y="275915"/>
                      <a:pt x="190814" y="278039"/>
                    </a:cubicBezTo>
                    <a:lnTo>
                      <a:pt x="184406" y="320407"/>
                    </a:lnTo>
                    <a:lnTo>
                      <a:pt x="146779" y="320407"/>
                    </a:lnTo>
                    <a:lnTo>
                      <a:pt x="140371" y="278039"/>
                    </a:lnTo>
                    <a:cubicBezTo>
                      <a:pt x="140051" y="275918"/>
                      <a:pt x="138503" y="274187"/>
                      <a:pt x="136433" y="273629"/>
                    </a:cubicBezTo>
                    <a:cubicBezTo>
                      <a:pt x="127156" y="271141"/>
                      <a:pt x="118202" y="267433"/>
                      <a:pt x="109811" y="262613"/>
                    </a:cubicBezTo>
                    <a:cubicBezTo>
                      <a:pt x="107957" y="261547"/>
                      <a:pt x="105642" y="261680"/>
                      <a:pt x="103918" y="262948"/>
                    </a:cubicBezTo>
                    <a:lnTo>
                      <a:pt x="69437" y="288367"/>
                    </a:lnTo>
                    <a:lnTo>
                      <a:pt x="42829" y="261760"/>
                    </a:lnTo>
                    <a:lnTo>
                      <a:pt x="68173" y="227383"/>
                    </a:lnTo>
                    <a:cubicBezTo>
                      <a:pt x="69448" y="225652"/>
                      <a:pt x="69577" y="223330"/>
                      <a:pt x="68497" y="221468"/>
                    </a:cubicBezTo>
                    <a:cubicBezTo>
                      <a:pt x="63619" y="213059"/>
                      <a:pt x="59861" y="204055"/>
                      <a:pt x="57326" y="194713"/>
                    </a:cubicBezTo>
                    <a:cubicBezTo>
                      <a:pt x="56765" y="192647"/>
                      <a:pt x="55037" y="191110"/>
                      <a:pt x="52920" y="190789"/>
                    </a:cubicBezTo>
                    <a:lnTo>
                      <a:pt x="10789" y="184414"/>
                    </a:lnTo>
                    <a:lnTo>
                      <a:pt x="10789" y="146786"/>
                    </a:lnTo>
                    <a:lnTo>
                      <a:pt x="52729" y="140443"/>
                    </a:lnTo>
                    <a:cubicBezTo>
                      <a:pt x="54857" y="140123"/>
                      <a:pt x="56592" y="138568"/>
                      <a:pt x="57143" y="136487"/>
                    </a:cubicBezTo>
                    <a:cubicBezTo>
                      <a:pt x="59638" y="127069"/>
                      <a:pt x="63389" y="117968"/>
                      <a:pt x="68299" y="109436"/>
                    </a:cubicBezTo>
                    <a:cubicBezTo>
                      <a:pt x="69368" y="107579"/>
                      <a:pt x="69235" y="105264"/>
                      <a:pt x="67964" y="103540"/>
                    </a:cubicBezTo>
                    <a:lnTo>
                      <a:pt x="42829" y="69444"/>
                    </a:lnTo>
                    <a:lnTo>
                      <a:pt x="69437" y="42836"/>
                    </a:lnTo>
                    <a:lnTo>
                      <a:pt x="103432" y="67896"/>
                    </a:lnTo>
                    <a:cubicBezTo>
                      <a:pt x="105163" y="69170"/>
                      <a:pt x="107485" y="69300"/>
                      <a:pt x="109350" y="68216"/>
                    </a:cubicBezTo>
                    <a:cubicBezTo>
                      <a:pt x="117900" y="63248"/>
                      <a:pt x="127048" y="59443"/>
                      <a:pt x="136530" y="56905"/>
                    </a:cubicBezTo>
                    <a:cubicBezTo>
                      <a:pt x="138604" y="56351"/>
                      <a:pt x="140152" y="54619"/>
                      <a:pt x="140472" y="52495"/>
                    </a:cubicBezTo>
                    <a:lnTo>
                      <a:pt x="146779" y="10796"/>
                    </a:lnTo>
                    <a:lnTo>
                      <a:pt x="184406" y="10796"/>
                    </a:lnTo>
                    <a:lnTo>
                      <a:pt x="190714" y="52495"/>
                    </a:lnTo>
                    <a:cubicBezTo>
                      <a:pt x="191034" y="54619"/>
                      <a:pt x="192582" y="56351"/>
                      <a:pt x="194656" y="56905"/>
                    </a:cubicBezTo>
                    <a:cubicBezTo>
                      <a:pt x="204138" y="59443"/>
                      <a:pt x="213282" y="63248"/>
                      <a:pt x="221836" y="68216"/>
                    </a:cubicBezTo>
                    <a:cubicBezTo>
                      <a:pt x="223697" y="69304"/>
                      <a:pt x="226019" y="69170"/>
                      <a:pt x="227754" y="67896"/>
                    </a:cubicBezTo>
                    <a:lnTo>
                      <a:pt x="261749" y="42836"/>
                    </a:lnTo>
                    <a:lnTo>
                      <a:pt x="288356" y="69444"/>
                    </a:lnTo>
                    <a:lnTo>
                      <a:pt x="263221" y="103540"/>
                    </a:lnTo>
                    <a:cubicBezTo>
                      <a:pt x="261950" y="105264"/>
                      <a:pt x="261817" y="107579"/>
                      <a:pt x="262886" y="109436"/>
                    </a:cubicBezTo>
                    <a:cubicBezTo>
                      <a:pt x="267793" y="117968"/>
                      <a:pt x="271548" y="127069"/>
                      <a:pt x="274043" y="136487"/>
                    </a:cubicBezTo>
                    <a:cubicBezTo>
                      <a:pt x="274594" y="138568"/>
                      <a:pt x="276329" y="140119"/>
                      <a:pt x="278456" y="140443"/>
                    </a:cubicBezTo>
                    <a:lnTo>
                      <a:pt x="320396" y="146786"/>
                    </a:lnTo>
                    <a:lnTo>
                      <a:pt x="320396" y="184414"/>
                    </a:lnTo>
                    <a:lnTo>
                      <a:pt x="320396" y="184414"/>
                    </a:lnTo>
                    <a:close/>
                  </a:path>
                </a:pathLst>
              </a:custGeom>
              <a:solidFill>
                <a:srgbClr val="00000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2" name="Скругленный прямоугольник 21"/>
          <p:cNvSpPr/>
          <p:nvPr/>
        </p:nvSpPr>
        <p:spPr>
          <a:xfrm>
            <a:off x="815598" y="3784236"/>
            <a:ext cx="5043252" cy="931682"/>
          </a:xfrm>
          <a:prstGeom prst="round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90000" rIns="46800" bIns="46800" rtlCol="0" anchor="t"/>
          <a:lstStyle/>
          <a:p>
            <a:pPr algn="l"/>
            <a:endParaRPr lang="ru-RU" sz="1400" dirty="0">
              <a:solidFill>
                <a:schemeClr val="tx1"/>
              </a:solidFill>
            </a:endParaRP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F365586B-AFAC-4090-853D-4B5D67084049}"/>
              </a:ext>
            </a:extLst>
          </p:cNvPr>
          <p:cNvGrpSpPr/>
          <p:nvPr/>
        </p:nvGrpSpPr>
        <p:grpSpPr>
          <a:xfrm>
            <a:off x="941987" y="3927764"/>
            <a:ext cx="550305" cy="550305"/>
            <a:chOff x="4462403" y="1804128"/>
            <a:chExt cx="550305" cy="550305"/>
          </a:xfrm>
        </p:grpSpPr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2835E4D9-BF25-4B1A-B2DB-7F2FCFC6C6C2}"/>
                </a:ext>
              </a:extLst>
            </p:cNvPr>
            <p:cNvSpPr/>
            <p:nvPr/>
          </p:nvSpPr>
          <p:spPr>
            <a:xfrm>
              <a:off x="4462403" y="1804128"/>
              <a:ext cx="550305" cy="550305"/>
            </a:xfrm>
            <a:prstGeom prst="ellipse">
              <a:avLst/>
            </a:prstGeom>
            <a:solidFill>
              <a:srgbClr val="FFFFFF"/>
            </a:solidFill>
            <a:ln w="9525" cap="flat" cmpd="sng" algn="ctr">
              <a:solidFill>
                <a:srgbClr val="EB8B2D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grpSp>
          <p:nvGrpSpPr>
            <p:cNvPr id="25" name="Рисунок 44">
              <a:extLst>
                <a:ext uri="{FF2B5EF4-FFF2-40B4-BE49-F238E27FC236}">
                  <a16:creationId xmlns:a16="http://schemas.microsoft.com/office/drawing/2014/main" id="{CD21CCEA-1393-4644-B43D-E553E7FBA9A0}"/>
                </a:ext>
              </a:extLst>
            </p:cNvPr>
            <p:cNvGrpSpPr/>
            <p:nvPr/>
          </p:nvGrpSpPr>
          <p:grpSpPr>
            <a:xfrm>
              <a:off x="4656961" y="1945003"/>
              <a:ext cx="158666" cy="268549"/>
              <a:chOff x="4656961" y="1945003"/>
              <a:chExt cx="158666" cy="268549"/>
            </a:xfrm>
            <a:solidFill>
              <a:srgbClr val="231F20"/>
            </a:solidFill>
          </p:grpSpPr>
          <p:sp>
            <p:nvSpPr>
              <p:cNvPr id="26" name="Рисунок 44">
                <a:extLst>
                  <a:ext uri="{FF2B5EF4-FFF2-40B4-BE49-F238E27FC236}">
                    <a16:creationId xmlns:a16="http://schemas.microsoft.com/office/drawing/2014/main" id="{12E27E84-8636-4465-B850-17C9A1E15EA4}"/>
                  </a:ext>
                </a:extLst>
              </p:cNvPr>
              <p:cNvSpPr/>
              <p:nvPr/>
            </p:nvSpPr>
            <p:spPr>
              <a:xfrm>
                <a:off x="4656961" y="1945003"/>
                <a:ext cx="158666" cy="226735"/>
              </a:xfrm>
              <a:custGeom>
                <a:avLst/>
                <a:gdLst>
                  <a:gd name="connsiteX0" fmla="*/ 12038 w 158666"/>
                  <a:gd name="connsiteY0" fmla="*/ 121331 h 226735"/>
                  <a:gd name="connsiteX1" fmla="*/ 73447 w 158666"/>
                  <a:gd name="connsiteY1" fmla="*/ 224107 h 226735"/>
                  <a:gd name="connsiteX2" fmla="*/ 78034 w 158666"/>
                  <a:gd name="connsiteY2" fmla="*/ 226735 h 226735"/>
                  <a:gd name="connsiteX3" fmla="*/ 78080 w 158666"/>
                  <a:gd name="connsiteY3" fmla="*/ 226735 h 226735"/>
                  <a:gd name="connsiteX4" fmla="*/ 82667 w 158666"/>
                  <a:gd name="connsiteY4" fmla="*/ 224186 h 226735"/>
                  <a:gd name="connsiteX5" fmla="*/ 146588 w 158666"/>
                  <a:gd name="connsiteY5" fmla="*/ 121410 h 226735"/>
                  <a:gd name="connsiteX6" fmla="*/ 146992 w 158666"/>
                  <a:gd name="connsiteY6" fmla="*/ 120618 h 226735"/>
                  <a:gd name="connsiteX7" fmla="*/ 158666 w 158666"/>
                  <a:gd name="connsiteY7" fmla="*/ 79326 h 226735"/>
                  <a:gd name="connsiteX8" fmla="*/ 79322 w 158666"/>
                  <a:gd name="connsiteY8" fmla="*/ 0 h 226735"/>
                  <a:gd name="connsiteX9" fmla="*/ 0 w 158666"/>
                  <a:gd name="connsiteY9" fmla="*/ 79326 h 226735"/>
                  <a:gd name="connsiteX10" fmla="*/ 11682 w 158666"/>
                  <a:gd name="connsiteY10" fmla="*/ 120629 h 226735"/>
                  <a:gd name="connsiteX11" fmla="*/ 12038 w 158666"/>
                  <a:gd name="connsiteY11" fmla="*/ 121331 h 226735"/>
                  <a:gd name="connsiteX12" fmla="*/ 79326 w 158666"/>
                  <a:gd name="connsiteY12" fmla="*/ 10804 h 226735"/>
                  <a:gd name="connsiteX13" fmla="*/ 147870 w 158666"/>
                  <a:gd name="connsiteY13" fmla="*/ 79330 h 226735"/>
                  <a:gd name="connsiteX14" fmla="*/ 137347 w 158666"/>
                  <a:gd name="connsiteY14" fmla="*/ 115690 h 226735"/>
                  <a:gd name="connsiteX15" fmla="*/ 136933 w 158666"/>
                  <a:gd name="connsiteY15" fmla="*/ 116500 h 226735"/>
                  <a:gd name="connsiteX16" fmla="*/ 78174 w 158666"/>
                  <a:gd name="connsiteY16" fmla="*/ 210964 h 226735"/>
                  <a:gd name="connsiteX17" fmla="*/ 21776 w 158666"/>
                  <a:gd name="connsiteY17" fmla="*/ 116575 h 226735"/>
                  <a:gd name="connsiteX18" fmla="*/ 21326 w 158666"/>
                  <a:gd name="connsiteY18" fmla="*/ 115686 h 226735"/>
                  <a:gd name="connsiteX19" fmla="*/ 10804 w 158666"/>
                  <a:gd name="connsiteY19" fmla="*/ 79326 h 226735"/>
                  <a:gd name="connsiteX20" fmla="*/ 79326 w 158666"/>
                  <a:gd name="connsiteY20" fmla="*/ 10804 h 2267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158666" h="226735">
                    <a:moveTo>
                      <a:pt x="12038" y="121331"/>
                    </a:moveTo>
                    <a:lnTo>
                      <a:pt x="73447" y="224107"/>
                    </a:lnTo>
                    <a:cubicBezTo>
                      <a:pt x="74412" y="225724"/>
                      <a:pt x="76151" y="226721"/>
                      <a:pt x="78034" y="226735"/>
                    </a:cubicBezTo>
                    <a:cubicBezTo>
                      <a:pt x="78048" y="226735"/>
                      <a:pt x="78066" y="226735"/>
                      <a:pt x="78080" y="226735"/>
                    </a:cubicBezTo>
                    <a:cubicBezTo>
                      <a:pt x="79945" y="226735"/>
                      <a:pt x="81680" y="225770"/>
                      <a:pt x="82667" y="224186"/>
                    </a:cubicBezTo>
                    <a:lnTo>
                      <a:pt x="146588" y="121410"/>
                    </a:lnTo>
                    <a:cubicBezTo>
                      <a:pt x="146747" y="121154"/>
                      <a:pt x="146884" y="120888"/>
                      <a:pt x="146992" y="120618"/>
                    </a:cubicBezTo>
                    <a:cubicBezTo>
                      <a:pt x="154634" y="108137"/>
                      <a:pt x="158666" y="93881"/>
                      <a:pt x="158666" y="79326"/>
                    </a:cubicBezTo>
                    <a:cubicBezTo>
                      <a:pt x="158666" y="35586"/>
                      <a:pt x="123073" y="0"/>
                      <a:pt x="79322" y="0"/>
                    </a:cubicBezTo>
                    <a:cubicBezTo>
                      <a:pt x="35586" y="0"/>
                      <a:pt x="0" y="35586"/>
                      <a:pt x="0" y="79326"/>
                    </a:cubicBezTo>
                    <a:cubicBezTo>
                      <a:pt x="0" y="93884"/>
                      <a:pt x="4036" y="108144"/>
                      <a:pt x="11682" y="120629"/>
                    </a:cubicBezTo>
                    <a:cubicBezTo>
                      <a:pt x="11783" y="120870"/>
                      <a:pt x="11902" y="121104"/>
                      <a:pt x="12038" y="121331"/>
                    </a:cubicBezTo>
                    <a:close/>
                    <a:moveTo>
                      <a:pt x="79326" y="10804"/>
                    </a:moveTo>
                    <a:cubicBezTo>
                      <a:pt x="117122" y="10804"/>
                      <a:pt x="147870" y="41544"/>
                      <a:pt x="147870" y="79330"/>
                    </a:cubicBezTo>
                    <a:cubicBezTo>
                      <a:pt x="147870" y="92164"/>
                      <a:pt x="144230" y="104738"/>
                      <a:pt x="137347" y="115690"/>
                    </a:cubicBezTo>
                    <a:cubicBezTo>
                      <a:pt x="137182" y="115949"/>
                      <a:pt x="137045" y="116219"/>
                      <a:pt x="136933" y="116500"/>
                    </a:cubicBezTo>
                    <a:lnTo>
                      <a:pt x="78174" y="210964"/>
                    </a:lnTo>
                    <a:lnTo>
                      <a:pt x="21776" y="116575"/>
                    </a:lnTo>
                    <a:cubicBezTo>
                      <a:pt x="21654" y="116269"/>
                      <a:pt x="21506" y="115970"/>
                      <a:pt x="21326" y="115686"/>
                    </a:cubicBezTo>
                    <a:cubicBezTo>
                      <a:pt x="14443" y="104735"/>
                      <a:pt x="10804" y="92164"/>
                      <a:pt x="10804" y="79326"/>
                    </a:cubicBezTo>
                    <a:cubicBezTo>
                      <a:pt x="10804" y="41544"/>
                      <a:pt x="41544" y="10804"/>
                      <a:pt x="79326" y="10804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7" name="Рисунок 44">
                <a:extLst>
                  <a:ext uri="{FF2B5EF4-FFF2-40B4-BE49-F238E27FC236}">
                    <a16:creationId xmlns:a16="http://schemas.microsoft.com/office/drawing/2014/main" id="{F5BD1D8B-3C06-4683-812F-C027F3308119}"/>
                  </a:ext>
                </a:extLst>
              </p:cNvPr>
              <p:cNvSpPr/>
              <p:nvPr/>
            </p:nvSpPr>
            <p:spPr>
              <a:xfrm>
                <a:off x="4706807" y="1994845"/>
                <a:ext cx="58982" cy="58982"/>
              </a:xfrm>
              <a:custGeom>
                <a:avLst/>
                <a:gdLst>
                  <a:gd name="connsiteX0" fmla="*/ 29491 w 58982"/>
                  <a:gd name="connsiteY0" fmla="*/ 58982 h 58982"/>
                  <a:gd name="connsiteX1" fmla="*/ 58982 w 58982"/>
                  <a:gd name="connsiteY1" fmla="*/ 29491 h 58982"/>
                  <a:gd name="connsiteX2" fmla="*/ 29491 w 58982"/>
                  <a:gd name="connsiteY2" fmla="*/ 0 h 58982"/>
                  <a:gd name="connsiteX3" fmla="*/ 0 w 58982"/>
                  <a:gd name="connsiteY3" fmla="*/ 29491 h 58982"/>
                  <a:gd name="connsiteX4" fmla="*/ 29491 w 58982"/>
                  <a:gd name="connsiteY4" fmla="*/ 58982 h 58982"/>
                  <a:gd name="connsiteX5" fmla="*/ 29491 w 58982"/>
                  <a:gd name="connsiteY5" fmla="*/ 10800 h 58982"/>
                  <a:gd name="connsiteX6" fmla="*/ 48182 w 58982"/>
                  <a:gd name="connsiteY6" fmla="*/ 29491 h 58982"/>
                  <a:gd name="connsiteX7" fmla="*/ 29491 w 58982"/>
                  <a:gd name="connsiteY7" fmla="*/ 48182 h 58982"/>
                  <a:gd name="connsiteX8" fmla="*/ 10800 w 58982"/>
                  <a:gd name="connsiteY8" fmla="*/ 29491 h 58982"/>
                  <a:gd name="connsiteX9" fmla="*/ 29491 w 58982"/>
                  <a:gd name="connsiteY9" fmla="*/ 10800 h 589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8982" h="58982">
                    <a:moveTo>
                      <a:pt x="29491" y="58982"/>
                    </a:moveTo>
                    <a:cubicBezTo>
                      <a:pt x="45752" y="58982"/>
                      <a:pt x="58982" y="45752"/>
                      <a:pt x="58982" y="29491"/>
                    </a:cubicBezTo>
                    <a:cubicBezTo>
                      <a:pt x="58982" y="13230"/>
                      <a:pt x="45752" y="0"/>
                      <a:pt x="29491" y="0"/>
                    </a:cubicBezTo>
                    <a:cubicBezTo>
                      <a:pt x="13230" y="0"/>
                      <a:pt x="0" y="13230"/>
                      <a:pt x="0" y="29491"/>
                    </a:cubicBezTo>
                    <a:cubicBezTo>
                      <a:pt x="0" y="45752"/>
                      <a:pt x="13230" y="58982"/>
                      <a:pt x="29491" y="58982"/>
                    </a:cubicBezTo>
                    <a:close/>
                    <a:moveTo>
                      <a:pt x="29491" y="10800"/>
                    </a:moveTo>
                    <a:cubicBezTo>
                      <a:pt x="39798" y="10800"/>
                      <a:pt x="48182" y="19184"/>
                      <a:pt x="48182" y="29491"/>
                    </a:cubicBezTo>
                    <a:cubicBezTo>
                      <a:pt x="48182" y="39798"/>
                      <a:pt x="39798" y="48182"/>
                      <a:pt x="29491" y="48182"/>
                    </a:cubicBezTo>
                    <a:cubicBezTo>
                      <a:pt x="19184" y="48182"/>
                      <a:pt x="10800" y="39798"/>
                      <a:pt x="10800" y="29491"/>
                    </a:cubicBezTo>
                    <a:cubicBezTo>
                      <a:pt x="10796" y="19184"/>
                      <a:pt x="19184" y="10800"/>
                      <a:pt x="29491" y="1080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8" name="Рисунок 44">
                <a:extLst>
                  <a:ext uri="{FF2B5EF4-FFF2-40B4-BE49-F238E27FC236}">
                    <a16:creationId xmlns:a16="http://schemas.microsoft.com/office/drawing/2014/main" id="{438E816F-AEBD-4CFF-AD76-4CCA5492A681}"/>
                  </a:ext>
                </a:extLst>
              </p:cNvPr>
              <p:cNvSpPr/>
              <p:nvPr/>
            </p:nvSpPr>
            <p:spPr>
              <a:xfrm>
                <a:off x="4662696" y="2202752"/>
                <a:ext cx="147200" cy="10800"/>
              </a:xfrm>
              <a:custGeom>
                <a:avLst/>
                <a:gdLst>
                  <a:gd name="connsiteX0" fmla="*/ 141800 w 147200"/>
                  <a:gd name="connsiteY0" fmla="*/ 0 h 10800"/>
                  <a:gd name="connsiteX1" fmla="*/ 5400 w 147200"/>
                  <a:gd name="connsiteY1" fmla="*/ 0 h 10800"/>
                  <a:gd name="connsiteX2" fmla="*/ 0 w 147200"/>
                  <a:gd name="connsiteY2" fmla="*/ 5400 h 10800"/>
                  <a:gd name="connsiteX3" fmla="*/ 5400 w 147200"/>
                  <a:gd name="connsiteY3" fmla="*/ 10800 h 10800"/>
                  <a:gd name="connsiteX4" fmla="*/ 141800 w 147200"/>
                  <a:gd name="connsiteY4" fmla="*/ 10800 h 10800"/>
                  <a:gd name="connsiteX5" fmla="*/ 147200 w 147200"/>
                  <a:gd name="connsiteY5" fmla="*/ 5400 h 10800"/>
                  <a:gd name="connsiteX6" fmla="*/ 141800 w 147200"/>
                  <a:gd name="connsiteY6" fmla="*/ 0 h 108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47200" h="10800">
                    <a:moveTo>
                      <a:pt x="141800" y="0"/>
                    </a:moveTo>
                    <a:lnTo>
                      <a:pt x="5400" y="0"/>
                    </a:lnTo>
                    <a:cubicBezTo>
                      <a:pt x="2416" y="0"/>
                      <a:pt x="0" y="2419"/>
                      <a:pt x="0" y="5400"/>
                    </a:cubicBezTo>
                    <a:cubicBezTo>
                      <a:pt x="0" y="8381"/>
                      <a:pt x="2416" y="10800"/>
                      <a:pt x="5400" y="10800"/>
                    </a:cubicBezTo>
                    <a:lnTo>
                      <a:pt x="141800" y="10800"/>
                    </a:lnTo>
                    <a:cubicBezTo>
                      <a:pt x="144781" y="10800"/>
                      <a:pt x="147200" y="8381"/>
                      <a:pt x="147200" y="5400"/>
                    </a:cubicBezTo>
                    <a:cubicBezTo>
                      <a:pt x="147200" y="2419"/>
                      <a:pt x="144781" y="0"/>
                      <a:pt x="141800" y="0"/>
                    </a:cubicBezTo>
                    <a:close/>
                  </a:path>
                </a:pathLst>
              </a:custGeom>
              <a:solidFill>
                <a:srgbClr val="231F20"/>
              </a:solidFill>
              <a:ln w="3524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endParaRPr>
              </a:p>
            </p:txBody>
          </p:sp>
        </p:grpSp>
      </p:grpSp>
      <p:sp>
        <p:nvSpPr>
          <p:cNvPr id="29" name="Прямоугольник 28"/>
          <p:cNvSpPr/>
          <p:nvPr/>
        </p:nvSpPr>
        <p:spPr>
          <a:xfrm>
            <a:off x="1517075" y="3833584"/>
            <a:ext cx="443800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dirty="0" smtClean="0">
                <a:solidFill>
                  <a:srgbClr val="000000"/>
                </a:solidFill>
                <a:ea typeface="Arial" panose="020B0604020202020204" pitchFamily="34" charset="0"/>
              </a:rPr>
              <a:t>Место проведения:</a:t>
            </a:r>
          </a:p>
          <a:p>
            <a:pPr lvl="0" indent="-3429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ea typeface="Arial" panose="020B0604020202020204" pitchFamily="34" charset="0"/>
              </a:rPr>
              <a:t>Лагерь «Лесная застава», Челябинск</a:t>
            </a:r>
          </a:p>
          <a:p>
            <a:pPr lvl="0" indent="-342900" algn="just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400" dirty="0" smtClean="0">
                <a:solidFill>
                  <a:srgbClr val="000000"/>
                </a:solidFill>
                <a:ea typeface="Arial" panose="020B0604020202020204" pitchFamily="34" charset="0"/>
              </a:rPr>
              <a:t>Загородный центр «Таватуй»</a:t>
            </a:r>
            <a:endParaRPr lang="ru-RU" sz="1400" dirty="0">
              <a:solidFill>
                <a:srgbClr val="000000"/>
              </a:solidFill>
              <a:ea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822291" y="1388225"/>
            <a:ext cx="5029867" cy="415637"/>
          </a:xfrm>
          <a:prstGeom prst="rect">
            <a:avLst/>
          </a:prstGeom>
          <a:ln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180000" tIns="90000" rIns="46800" bIns="46800" rtlCol="0" anchor="t"/>
          <a:lstStyle/>
          <a:p>
            <a:pPr algn="l"/>
            <a:r>
              <a:rPr lang="ru-RU" sz="1400" dirty="0" smtClean="0">
                <a:solidFill>
                  <a:schemeClr val="tx1"/>
                </a:solidFill>
              </a:rPr>
              <a:t>Летние инженерные смены – 225 учащихся 7-11 классов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37" name="Picture 5" descr="8k7G-Le36k8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750"/>
          <a:stretch/>
        </p:blipFill>
        <p:spPr bwMode="auto">
          <a:xfrm>
            <a:off x="6086445" y="1377339"/>
            <a:ext cx="5759191" cy="4668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in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Прямоугольник 29"/>
          <p:cNvSpPr/>
          <p:nvPr/>
        </p:nvSpPr>
        <p:spPr>
          <a:xfrm>
            <a:off x="739083" y="814820"/>
            <a:ext cx="345556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/>
              <a:t>Опыт 2021/22 </a:t>
            </a:r>
            <a:r>
              <a:rPr lang="ru-RU" b="1" dirty="0"/>
              <a:t>учебного года </a:t>
            </a:r>
          </a:p>
        </p:txBody>
      </p:sp>
    </p:spTree>
    <p:extLst>
      <p:ext uri="{BB962C8B-B14F-4D97-AF65-F5344CB8AC3E}">
        <p14:creationId xmlns:p14="http://schemas.microsoft.com/office/powerpoint/2010/main" val="95369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8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/>
              <a:t>ИНЖЕНЕРНАЯ </a:t>
            </a:r>
            <a:r>
              <a:rPr lang="ru-RU" dirty="0" smtClean="0"/>
              <a:t>  ШКОЛА   УГМК</a:t>
            </a:r>
            <a:r>
              <a:rPr lang="ru-RU" dirty="0"/>
              <a:t/>
            </a:r>
            <a:br>
              <a:rPr lang="ru-RU" dirty="0"/>
            </a:br>
            <a:r>
              <a:rPr lang="ru-RU" dirty="0" smtClean="0"/>
              <a:t>предметные программы 2022/23 </a:t>
            </a:r>
            <a:r>
              <a:rPr lang="ru-RU" dirty="0"/>
              <a:t>учебного года 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F6FB527F-5C2C-4922-9D97-F5BC1669F5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85292165"/>
              </p:ext>
            </p:extLst>
          </p:nvPr>
        </p:nvGraphicFramePr>
        <p:xfrm>
          <a:off x="684868" y="1196788"/>
          <a:ext cx="3567460" cy="56612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3D7376BC-AA88-4554-978E-80AFF58D8EF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28987223"/>
              </p:ext>
            </p:extLst>
          </p:nvPr>
        </p:nvGraphicFramePr>
        <p:xfrm>
          <a:off x="4533741" y="1349294"/>
          <a:ext cx="7305900" cy="49640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262364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41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664797"/>
          </a:xfrm>
        </p:spPr>
        <p:txBody>
          <a:bodyPr vert="horz"/>
          <a:lstStyle/>
          <a:p>
            <a:r>
              <a:rPr lang="ru-RU" dirty="0" smtClean="0"/>
              <a:t>ИНЖЕНЕРНАЯ   </a:t>
            </a:r>
            <a:r>
              <a:rPr lang="ru-RU" dirty="0"/>
              <a:t>ШКОЛА </a:t>
            </a:r>
            <a:r>
              <a:rPr lang="ru-RU" dirty="0" smtClean="0"/>
              <a:t>  УГМК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>программы и мероприятия 2022/23 учебного года </a:t>
            </a:r>
          </a:p>
        </p:txBody>
      </p:sp>
      <p:graphicFrame>
        <p:nvGraphicFramePr>
          <p:cNvPr id="5" name="Схема 4">
            <a:extLst>
              <a:ext uri="{FF2B5EF4-FFF2-40B4-BE49-F238E27FC236}">
                <a16:creationId xmlns:a16="http://schemas.microsoft.com/office/drawing/2014/main" id="{F6FB527F-5C2C-4922-9D97-F5BC1669F58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79626939"/>
              </p:ext>
            </p:extLst>
          </p:nvPr>
        </p:nvGraphicFramePr>
        <p:xfrm>
          <a:off x="808907" y="1712422"/>
          <a:ext cx="5566956" cy="49249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6" name="Схема 5">
            <a:extLst>
              <a:ext uri="{FF2B5EF4-FFF2-40B4-BE49-F238E27FC236}">
                <a16:creationId xmlns:a16="http://schemas.microsoft.com/office/drawing/2014/main" id="{A728A4F7-228D-4BFC-9747-64B134A5389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06166128"/>
              </p:ext>
            </p:extLst>
          </p:nvPr>
        </p:nvGraphicFramePr>
        <p:xfrm>
          <a:off x="6808124" y="1346662"/>
          <a:ext cx="5031517" cy="51622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</p:spTree>
    <p:extLst>
      <p:ext uri="{BB962C8B-B14F-4D97-AF65-F5344CB8AC3E}">
        <p14:creationId xmlns:p14="http://schemas.microsoft.com/office/powerpoint/2010/main" val="1849074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10409EC0-D1A0-2948-BD56-6BF3A7E4C4D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6" name="Слайд think-cell" r:id="rId4" imgW="7772400" imgH="10058400" progId="TCLayout.ActiveDocument.1">
                  <p:embed/>
                </p:oleObj>
              </mc:Choice>
              <mc:Fallback>
                <p:oleObj name="Слайд think-cell" r:id="rId4" imgW="7772400" imgH="1005840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10409EC0-D1A0-2948-BD56-6BF3A7E4C4D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4B39CF-508A-1443-BCC4-33681F01FB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8906" y="402822"/>
            <a:ext cx="9072000" cy="332399"/>
          </a:xfrm>
        </p:spPr>
        <p:txBody>
          <a:bodyPr vert="horz"/>
          <a:lstStyle/>
          <a:p>
            <a:r>
              <a:rPr lang="ru-RU" dirty="0"/>
              <a:t>Конкурсный отбор в Инженерную школу УГМК</a:t>
            </a:r>
          </a:p>
        </p:txBody>
      </p:sp>
      <p:graphicFrame>
        <p:nvGraphicFramePr>
          <p:cNvPr id="3" name="Схема 2">
            <a:extLst>
              <a:ext uri="{FF2B5EF4-FFF2-40B4-BE49-F238E27FC236}">
                <a16:creationId xmlns:a16="http://schemas.microsoft.com/office/drawing/2014/main" id="{05229281-0DCF-46D3-A9D7-13AD1369361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36525121"/>
              </p:ext>
            </p:extLst>
          </p:nvPr>
        </p:nvGraphicFramePr>
        <p:xfrm>
          <a:off x="336176" y="1586753"/>
          <a:ext cx="11510683" cy="432995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3712690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25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141">
      <a:dk1>
        <a:srgbClr val="000000"/>
      </a:dk1>
      <a:lt1>
        <a:srgbClr val="FFFFFF"/>
      </a:lt1>
      <a:dk2>
        <a:srgbClr val="F1F2F1"/>
      </a:dk2>
      <a:lt2>
        <a:srgbClr val="5E5C5C"/>
      </a:lt2>
      <a:accent1>
        <a:srgbClr val="EB8B2D"/>
      </a:accent1>
      <a:accent2>
        <a:srgbClr val="CD441F"/>
      </a:accent2>
      <a:accent3>
        <a:srgbClr val="88192B"/>
      </a:accent3>
      <a:accent4>
        <a:srgbClr val="FEDE5D"/>
      </a:accent4>
      <a:accent5>
        <a:srgbClr val="4DA958"/>
      </a:accent5>
      <a:accent6>
        <a:srgbClr val="B5DCA4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180000" tIns="90000" rIns="46800" bIns="46800" rtlCol="0" anchor="t"/>
      <a:lstStyle>
        <a:defPPr algn="l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 anchor="t">
        <a:spAutoFit/>
      </a:bodyPr>
      <a:lstStyle>
        <a:defPPr algn="l">
          <a:defRPr sz="1200" dirty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FF11B57AF927E48A713F8B75CFE1B46" ma:contentTypeVersion="0" ma:contentTypeDescription="Создание документа." ma:contentTypeScope="" ma:versionID="806c17182c6caab74b330c4544faf8f6">
  <xsd:schema xmlns:xsd="http://www.w3.org/2001/XMLSchema" xmlns:xs="http://www.w3.org/2001/XMLSchema" xmlns:p="http://schemas.microsoft.com/office/2006/metadata/properties" xmlns:ns2="2eb23eb2-4919-4bd4-b5be-0d6d4eb9c3d7" targetNamespace="http://schemas.microsoft.com/office/2006/metadata/properties" ma:root="true" ma:fieldsID="9a03c2cbe4aa3cf1f9477f399a9634a0" ns2:_="">
    <xsd:import namespace="2eb23eb2-4919-4bd4-b5be-0d6d4eb9c3d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b23eb2-4919-4bd4-b5be-0d6d4eb9c3d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2eb23eb2-4919-4bd4-b5be-0d6d4eb9c3d7">YHEFWEUWANX7-343-3</_dlc_DocId>
    <_dlc_DocIdUrl xmlns="2eb23eb2-4919-4bd4-b5be-0d6d4eb9c3d7">
      <Url>https://corp.ugmk.com/_layouts/15/DocIdRedir.aspx?ID=YHEFWEUWANX7-343-3</Url>
      <Description>YHEFWEUWANX7-343-3</Description>
    </_dlc_DocIdUrl>
  </documentManagement>
</p:propertie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F8155F8-E5E1-434B-B688-CB1A13F20A91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71256983-9CB8-4575-A9DC-159CA9215F1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eb23eb2-4919-4bd4-b5be-0d6d4eb9c3d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9678E1-76D2-448C-A408-D6EACF08EDF4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2eb23eb2-4919-4bd4-b5be-0d6d4eb9c3d7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30FFB783-7400-4D54-9394-A0A3DD7A4C3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3270</TotalTime>
  <Words>743</Words>
  <Application>Microsoft Office PowerPoint</Application>
  <PresentationFormat>Широкоэкранный</PresentationFormat>
  <Paragraphs>133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8" baseType="lpstr">
      <vt:lpstr>Arial</vt:lpstr>
      <vt:lpstr>Calibri</vt:lpstr>
      <vt:lpstr>Euclid Circular B</vt:lpstr>
      <vt:lpstr>Тема Office</vt:lpstr>
      <vt:lpstr>Слайд think-cell</vt:lpstr>
      <vt:lpstr>Приглашаем в Инженерную школу УГМК !</vt:lpstr>
      <vt:lpstr>ИНЖЕНЕРНАЯ   ШКОЛА   УГМК </vt:lpstr>
      <vt:lpstr>Регионы, где работает Инженерная школа УГМК</vt:lpstr>
      <vt:lpstr>ИНЖЕНЕРНАЯ   ШКОЛА   УГМК </vt:lpstr>
      <vt:lpstr>ИНЖЕНЕРНАЯ   ШКОЛА   УГМК </vt:lpstr>
      <vt:lpstr>ИНЖЕНЕРНАЯ   ШКОЛА   УГМК </vt:lpstr>
      <vt:lpstr>ИНЖЕНЕРНАЯ   ШКОЛА   УГМК предметные программы 2022/23 учебного года </vt:lpstr>
      <vt:lpstr>ИНЖЕНЕРНАЯ   ШКОЛА   УГМК программы и мероприятия 2022/23 учебного года </vt:lpstr>
      <vt:lpstr>Конкурсный отбор в Инженерную школу УГМК</vt:lpstr>
      <vt:lpstr>Конкурсный отбор в Инженерную школу УГМК</vt:lpstr>
      <vt:lpstr>Конкурсный отбор в Инженерную школу УГМК</vt:lpstr>
      <vt:lpstr>Конкурсный отбор в Инженерную школу УГМК</vt:lpstr>
      <vt:lpstr>Сайт Инженерной школы УГМК https://school.ugmk.com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m9990007889@gmail.com</dc:creator>
  <cp:lastModifiedBy>Караман Евгений Вадимович</cp:lastModifiedBy>
  <cp:revision>963</cp:revision>
  <dcterms:created xsi:type="dcterms:W3CDTF">2021-03-31T07:59:31Z</dcterms:created>
  <dcterms:modified xsi:type="dcterms:W3CDTF">2022-09-13T08:42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FF11B57AF927E48A713F8B75CFE1B46</vt:lpwstr>
  </property>
  <property fmtid="{D5CDD505-2E9C-101B-9397-08002B2CF9AE}" pid="3" name="_dlc_DocIdItemGuid">
    <vt:lpwstr>e1f57fe3-0f07-486e-9892-b2d28e186dbc</vt:lpwstr>
  </property>
</Properties>
</file>